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7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9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0.xml" ContentType="application/vnd.openxmlformats-officedocument.theme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3652" r:id="rId2"/>
    <p:sldMasterId id="2147483653" r:id="rId3"/>
    <p:sldMasterId id="2147483654" r:id="rId4"/>
    <p:sldMasterId id="2147484461" r:id="rId5"/>
    <p:sldMasterId id="2147485093" r:id="rId6"/>
    <p:sldMasterId id="2147498844" r:id="rId7"/>
    <p:sldMasterId id="2147505763" r:id="rId8"/>
    <p:sldMasterId id="2147505781" r:id="rId9"/>
    <p:sldMasterId id="2147505809" r:id="rId10"/>
    <p:sldMasterId id="2147505828" r:id="rId11"/>
  </p:sldMasterIdLst>
  <p:notesMasterIdLst>
    <p:notesMasterId r:id="rId35"/>
  </p:notesMasterIdLst>
  <p:sldIdLst>
    <p:sldId id="791" r:id="rId12"/>
    <p:sldId id="792" r:id="rId13"/>
    <p:sldId id="793" r:id="rId14"/>
    <p:sldId id="794" r:id="rId15"/>
    <p:sldId id="795" r:id="rId16"/>
    <p:sldId id="796" r:id="rId17"/>
    <p:sldId id="797" r:id="rId18"/>
    <p:sldId id="798" r:id="rId19"/>
    <p:sldId id="799" r:id="rId20"/>
    <p:sldId id="800" r:id="rId21"/>
    <p:sldId id="801" r:id="rId22"/>
    <p:sldId id="802" r:id="rId23"/>
    <p:sldId id="803" r:id="rId24"/>
    <p:sldId id="804" r:id="rId25"/>
    <p:sldId id="805" r:id="rId26"/>
    <p:sldId id="806" r:id="rId27"/>
    <p:sldId id="807" r:id="rId28"/>
    <p:sldId id="808" r:id="rId29"/>
    <p:sldId id="809" r:id="rId30"/>
    <p:sldId id="810" r:id="rId31"/>
    <p:sldId id="811" r:id="rId32"/>
    <p:sldId id="812" r:id="rId33"/>
    <p:sldId id="813" r:id="rId34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000066"/>
    <a:srgbClr val="FF9933"/>
    <a:srgbClr val="FF0000"/>
    <a:srgbClr val="FFCC00"/>
    <a:srgbClr val="FFFFFF"/>
    <a:srgbClr val="FFFF99"/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94576" autoAdjust="0"/>
  </p:normalViewPr>
  <p:slideViewPr>
    <p:cSldViewPr>
      <p:cViewPr varScale="1">
        <p:scale>
          <a:sx n="61" d="100"/>
          <a:sy n="61" d="100"/>
        </p:scale>
        <p:origin x="1428" y="2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511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970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61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48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348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48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7D4D43E-D429-41F3-AF18-29640DF70C0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321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3219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 smtClean="0">
              <a:latin typeface="Calibri" panose="020F0502020204030204" pitchFamily="34" charset="0"/>
            </a:endParaRPr>
          </a:p>
        </p:txBody>
      </p:sp>
      <p:sp>
        <p:nvSpPr>
          <p:cNvPr id="39322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8816E8A-9ECB-4625-9F8C-C93CC8D14904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altLang="en-US" sz="12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47714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.bin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6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veralon.com/" TargetMode="Externa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0.jpeg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veralon.com/" TargetMode="Externa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0.jpe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veralon.com/" TargetMode="Externa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0.jpe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74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FE6E4-BAC9-4AF4-9D61-0228D6A91CA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789813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0DED90-70B9-4E46-9F23-FE339C3A56E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8360598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ord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133856" y="1902500"/>
            <a:ext cx="7181469" cy="3299085"/>
          </a:xfrm>
        </p:spPr>
        <p:txBody>
          <a:bodyPr anchor="t">
            <a:normAutofit/>
          </a:bodyPr>
          <a:lstStyle>
            <a:lvl1pPr marL="285750" indent="-285750">
              <a:lnSpc>
                <a:spcPct val="100000"/>
              </a:lnSpc>
              <a:buClrTx/>
              <a:buFont typeface="Wingdings" panose="05000000000000000000" pitchFamily="2" charset="2"/>
              <a:buChar char="§"/>
              <a:defRPr sz="3200" baseline="0"/>
            </a:lvl1pPr>
            <a:lvl2pPr marL="502920" indent="0">
              <a:buNone/>
              <a:defRPr/>
            </a:lvl2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D3BA4C-1622-49F2-B3DE-8B9C4F2FD67B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5880975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867650" y="1417638"/>
            <a:ext cx="804863" cy="4819650"/>
          </a:xfrm>
          <a:prstGeom prst="rect">
            <a:avLst/>
          </a:prstGeom>
          <a:solidFill>
            <a:srgbClr val="8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Rectangle 6"/>
          <p:cNvSpPr/>
          <p:nvPr/>
        </p:nvSpPr>
        <p:spPr>
          <a:xfrm>
            <a:off x="8337550" y="1417638"/>
            <a:ext cx="804863" cy="4819650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" y="1417638"/>
            <a:ext cx="8337014" cy="4819338"/>
          </a:xfrm>
        </p:spPr>
        <p:txBody>
          <a:bodyPr rtlCol="0">
            <a:norm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C9CFC8-A414-4A82-9241-5D2A0CB9FB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57865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ord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6"/>
          <p:cNvGrpSpPr>
            <a:grpSpLocks/>
          </p:cNvGrpSpPr>
          <p:nvPr/>
        </p:nvGrpSpPr>
        <p:grpSpPr bwMode="auto">
          <a:xfrm>
            <a:off x="7300913" y="1784350"/>
            <a:ext cx="1036637" cy="3417888"/>
            <a:chOff x="7063151" y="1784404"/>
            <a:chExt cx="1273864" cy="4819338"/>
          </a:xfrm>
        </p:grpSpPr>
        <p:sp>
          <p:nvSpPr>
            <p:cNvPr id="6" name="Rectangle 5"/>
            <p:cNvSpPr/>
            <p:nvPr/>
          </p:nvSpPr>
          <p:spPr>
            <a:xfrm>
              <a:off x="7063151" y="1784404"/>
              <a:ext cx="803725" cy="4819338"/>
            </a:xfrm>
            <a:prstGeom prst="rect">
              <a:avLst/>
            </a:prstGeom>
            <a:solidFill>
              <a:srgbClr val="800000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Rectangle 6"/>
            <p:cNvSpPr/>
            <p:nvPr/>
          </p:nvSpPr>
          <p:spPr>
            <a:xfrm>
              <a:off x="7533290" y="1784404"/>
              <a:ext cx="803725" cy="4819338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115569" y="1785079"/>
            <a:ext cx="3297161" cy="3416459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8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4413250" y="1784404"/>
            <a:ext cx="2887663" cy="3417834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2" name="Title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C9CFC8-A414-4A82-9241-5D2A0CB9FB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67537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27038" y="1066800"/>
            <a:ext cx="8259762" cy="4546600"/>
          </a:xfrm>
          <a:prstGeom prst="rect">
            <a:avLst/>
          </a:prstGeom>
          <a:solidFill>
            <a:srgbClr val="8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Shape 2708"/>
          <p:cNvSpPr/>
          <p:nvPr/>
        </p:nvSpPr>
        <p:spPr>
          <a:xfrm>
            <a:off x="8053388" y="4679950"/>
            <a:ext cx="385762" cy="385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8836" y="13888"/>
                </a:moveTo>
                <a:lnTo>
                  <a:pt x="8836" y="7712"/>
                </a:lnTo>
                <a:lnTo>
                  <a:pt x="14241" y="10800"/>
                </a:lnTo>
                <a:cubicBezTo>
                  <a:pt x="14241" y="10800"/>
                  <a:pt x="8836" y="13888"/>
                  <a:pt x="8836" y="13888"/>
                </a:cubicBezTo>
                <a:close/>
                <a:moveTo>
                  <a:pt x="15520" y="10422"/>
                </a:moveTo>
                <a:lnTo>
                  <a:pt x="15525" y="10416"/>
                </a:lnTo>
                <a:lnTo>
                  <a:pt x="15438" y="10367"/>
                </a:lnTo>
                <a:cubicBezTo>
                  <a:pt x="15425" y="10361"/>
                  <a:pt x="15414" y="10351"/>
                  <a:pt x="15401" y="10346"/>
                </a:cubicBezTo>
                <a:lnTo>
                  <a:pt x="8652" y="6489"/>
                </a:lnTo>
                <a:lnTo>
                  <a:pt x="8647" y="6495"/>
                </a:lnTo>
                <a:cubicBezTo>
                  <a:pt x="8563" y="6428"/>
                  <a:pt x="8461" y="6382"/>
                  <a:pt x="8345" y="6382"/>
                </a:cubicBezTo>
                <a:cubicBezTo>
                  <a:pt x="8075" y="6382"/>
                  <a:pt x="7855" y="6601"/>
                  <a:pt x="7855" y="6873"/>
                </a:cubicBezTo>
                <a:lnTo>
                  <a:pt x="7855" y="14727"/>
                </a:lnTo>
                <a:cubicBezTo>
                  <a:pt x="7855" y="14999"/>
                  <a:pt x="8075" y="15218"/>
                  <a:pt x="8345" y="15218"/>
                </a:cubicBezTo>
                <a:cubicBezTo>
                  <a:pt x="8461" y="15218"/>
                  <a:pt x="8563" y="15172"/>
                  <a:pt x="8647" y="15105"/>
                </a:cubicBezTo>
                <a:lnTo>
                  <a:pt x="8652" y="15111"/>
                </a:lnTo>
                <a:lnTo>
                  <a:pt x="15401" y="11254"/>
                </a:lnTo>
                <a:cubicBezTo>
                  <a:pt x="15414" y="11249"/>
                  <a:pt x="15425" y="11240"/>
                  <a:pt x="15438" y="11233"/>
                </a:cubicBezTo>
                <a:lnTo>
                  <a:pt x="15525" y="11184"/>
                </a:lnTo>
                <a:lnTo>
                  <a:pt x="15520" y="11178"/>
                </a:lnTo>
                <a:cubicBezTo>
                  <a:pt x="15632" y="11088"/>
                  <a:pt x="15709" y="10955"/>
                  <a:pt x="15709" y="10800"/>
                </a:cubicBezTo>
                <a:cubicBezTo>
                  <a:pt x="15709" y="10645"/>
                  <a:pt x="15632" y="10512"/>
                  <a:pt x="15520" y="10422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14284" tIns="14284" rIns="14284" bIns="14284" anchor="ctr"/>
          <a:lstStyle/>
          <a:p>
            <a:pPr defTabSz="171399" fontAlgn="auto">
              <a:spcBef>
                <a:spcPts val="0"/>
              </a:spcBef>
              <a:spcAft>
                <a:spcPts val="0"/>
              </a:spcAft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Media Placeholder 2"/>
          <p:cNvSpPr>
            <a:spLocks noGrp="1"/>
          </p:cNvSpPr>
          <p:nvPr>
            <p:ph type="media" sz="quarter" idx="11"/>
          </p:nvPr>
        </p:nvSpPr>
        <p:spPr>
          <a:xfrm>
            <a:off x="627838" y="1252516"/>
            <a:ext cx="7123297" cy="3812788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media</a:t>
            </a:r>
            <a:endParaRPr lang="en-US" noProof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C9CFC8-A414-4A82-9241-5D2A0CB9FB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60105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0" y="2716213"/>
            <a:ext cx="93884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747713" y="1901825"/>
            <a:ext cx="7645400" cy="1816100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9475" y="306388"/>
            <a:ext cx="2779713" cy="1360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Placeholder 12"/>
          <p:cNvSpPr>
            <a:spLocks noGrp="1"/>
          </p:cNvSpPr>
          <p:nvPr>
            <p:ph type="title"/>
          </p:nvPr>
        </p:nvSpPr>
        <p:spPr>
          <a:xfrm>
            <a:off x="1146047" y="2362733"/>
            <a:ext cx="7169277" cy="7066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338261" y="4179223"/>
            <a:ext cx="6977063" cy="2019300"/>
          </a:xfrm>
        </p:spPr>
        <p:txBody>
          <a:bodyPr/>
          <a:lstStyle>
            <a:lvl1pPr marL="0" indent="0">
              <a:buNone/>
              <a:defRPr sz="3600"/>
            </a:lvl1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0831124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94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4196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  <a:lvl2pPr marL="457200" indent="-222250">
              <a:defRPr sz="1800"/>
            </a:lvl2pPr>
            <a:lvl3pPr marL="692150" indent="-234950">
              <a:defRPr sz="1800"/>
            </a:lvl3pPr>
            <a:lvl4pPr marL="914400" indent="-222250">
              <a:defRPr sz="1800"/>
            </a:lvl4pPr>
            <a:lvl5pPr marL="1149350" indent="-234950"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93201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9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35814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  <a:lvl2pPr marL="457200" indent="-222250">
              <a:defRPr sz="1800"/>
            </a:lvl2pPr>
            <a:lvl3pPr marL="692150" indent="-234950">
              <a:defRPr sz="1800"/>
            </a:lvl3pPr>
            <a:lvl4pPr marL="914400" indent="-222250">
              <a:defRPr sz="1800"/>
            </a:lvl4pPr>
            <a:lvl5pPr marL="1149350" indent="-234950"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676400" y="5029200"/>
            <a:ext cx="5942013" cy="533400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591459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E48A22-C842-46AF-8C2D-9D9CC1D98638}" type="datetimeFigureOut">
              <a:rPr lang="en-US"/>
              <a:pPr>
                <a:defRPr/>
              </a:pPr>
              <a:t>3/30/2020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B5C9BB-29E6-47D0-89B6-214D910C29F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52622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UC_MED&amp;BS_Horiz_2C_CMYK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0" y="6072188"/>
            <a:ext cx="2514600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55600" y="1028700"/>
            <a:ext cx="8432800" cy="4762500"/>
          </a:xfrm>
          <a:prstGeom prst="rect">
            <a:avLst/>
          </a:prstGeom>
        </p:spPr>
        <p:txBody>
          <a:bodyPr vert="horz"/>
          <a:lstStyle>
            <a:lvl1pPr>
              <a:spcAft>
                <a:spcPts val="1200"/>
              </a:spcAft>
              <a:buFont typeface="Arial"/>
              <a:buChar char="•"/>
              <a:defRPr sz="1600" b="0" i="0">
                <a:latin typeface="Arial"/>
                <a:cs typeface="Arial"/>
              </a:defRPr>
            </a:lvl1pPr>
            <a:lvl2pPr>
              <a:defRPr sz="1600">
                <a:latin typeface="Ariel"/>
                <a:cs typeface="Ariel"/>
              </a:defRPr>
            </a:lvl2pPr>
            <a:lvl3pPr>
              <a:defRPr sz="1600">
                <a:latin typeface="Ariel"/>
                <a:cs typeface="Ariel"/>
              </a:defRPr>
            </a:lvl3pPr>
            <a:lvl4pPr>
              <a:defRPr sz="1600">
                <a:latin typeface="Ariel"/>
                <a:cs typeface="Ariel"/>
              </a:defRPr>
            </a:lvl4pPr>
            <a:lvl5pPr>
              <a:defRPr sz="1600">
                <a:latin typeface="Ariel"/>
                <a:cs typeface="Arie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Next Line of information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42900" y="342900"/>
            <a:ext cx="6972300" cy="558800"/>
          </a:xfrm>
          <a:prstGeom prst="rect">
            <a:avLst/>
          </a:prstGeom>
        </p:spPr>
        <p:txBody>
          <a:bodyPr vert="horz"/>
          <a:lstStyle>
            <a:lvl1pPr algn="l">
              <a:buNone/>
              <a:defRPr sz="2400">
                <a:solidFill>
                  <a:srgbClr val="8B0021"/>
                </a:solidFill>
                <a:latin typeface="Times New Roman"/>
                <a:cs typeface="Times New Roma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14"/>
          </p:nvPr>
        </p:nvSpPr>
        <p:spPr>
          <a:xfrm>
            <a:off x="7315200" y="419100"/>
            <a:ext cx="1473200" cy="419100"/>
          </a:xfrm>
          <a:prstGeom prst="rect">
            <a:avLst/>
          </a:prstGeom>
        </p:spPr>
        <p:txBody>
          <a:bodyPr vert="horz"/>
          <a:lstStyle>
            <a:lvl1pPr algn="r">
              <a:buNone/>
              <a:defRPr sz="1200"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13"/>
          <p:cNvSpPr>
            <a:spLocks noGrp="1"/>
          </p:cNvSpPr>
          <p:nvPr>
            <p:ph type="sldNum" sz="quarter" idx="15"/>
          </p:nvPr>
        </p:nvSpPr>
        <p:spPr>
          <a:xfrm>
            <a:off x="8394700" y="6245225"/>
            <a:ext cx="3810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90A903BA-3B0C-4CB7-A999-DCAFCE29F6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14"/>
          <p:cNvSpPr>
            <a:spLocks noGrp="1"/>
          </p:cNvSpPr>
          <p:nvPr>
            <p:ph type="ftr" sz="quarter" idx="16"/>
          </p:nvPr>
        </p:nvSpPr>
        <p:spPr>
          <a:xfrm>
            <a:off x="5651500" y="6245225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B0021"/>
                </a:solidFill>
                <a:latin typeface="Arial" pitchFamily="34" charset="0"/>
                <a:ea typeface="ヒラギノ角ゴ Pro W3" pitchFamily="-111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Presentation Title Here  |</a:t>
            </a:r>
          </a:p>
        </p:txBody>
      </p:sp>
    </p:spTree>
    <p:extLst>
      <p:ext uri="{BB962C8B-B14F-4D97-AF65-F5344CB8AC3E}">
        <p14:creationId xmlns:p14="http://schemas.microsoft.com/office/powerpoint/2010/main" val="265778876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9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3040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3" descr="Medicine Title Slide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0" y="6019800"/>
            <a:ext cx="9144000" cy="838200"/>
          </a:xfrm>
          <a:prstGeom prst="rect">
            <a:avLst/>
          </a:prstGeom>
          <a:solidFill>
            <a:srgbClr val="8B002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98083A"/>
              </a:solidFill>
            </a:endParaRP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2057400" y="4806950"/>
            <a:ext cx="6400800" cy="381000"/>
          </a:xfrm>
          <a:prstGeom prst="rect">
            <a:avLst/>
          </a:prstGeom>
        </p:spPr>
        <p:txBody>
          <a:bodyPr vert="horz"/>
          <a:lstStyle>
            <a:lvl1pPr>
              <a:buNone/>
              <a:defRPr sz="2400"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2057400" y="5264150"/>
            <a:ext cx="3810000" cy="298450"/>
          </a:xfrm>
          <a:prstGeom prst="rect">
            <a:avLst/>
          </a:prstGeom>
        </p:spPr>
        <p:txBody>
          <a:bodyPr vert="horz"/>
          <a:lstStyle>
            <a:lvl1pPr>
              <a:buNone/>
              <a:defRPr sz="1800"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057400" y="3429000"/>
            <a:ext cx="6400800" cy="1143000"/>
          </a:xfrm>
          <a:prstGeom prst="rect">
            <a:avLst/>
          </a:prstGeom>
        </p:spPr>
        <p:txBody>
          <a:bodyPr vert="horz" anchor="b"/>
          <a:lstStyle>
            <a:lvl1pPr>
              <a:buNone/>
              <a:defRPr sz="4000" baseline="0">
                <a:solidFill>
                  <a:srgbClr val="8B002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94090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2" y="609600"/>
            <a:ext cx="56769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F8402D-5550-4E52-A6E3-773D03FC234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8288667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01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3245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35814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  <a:lvl2pPr marL="457200" indent="-222250">
              <a:defRPr sz="1800"/>
            </a:lvl2pPr>
            <a:lvl3pPr marL="692150" indent="-234950">
              <a:defRPr sz="1800"/>
            </a:lvl3pPr>
            <a:lvl4pPr marL="914400" indent="-222250">
              <a:defRPr sz="1800"/>
            </a:lvl4pPr>
            <a:lvl5pPr marL="1149350" indent="-234950"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676400" y="5029200"/>
            <a:ext cx="5942013" cy="533400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021926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auto">
          <a:xfrm>
            <a:off x="457200" y="2057400"/>
            <a:ext cx="3962400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" name="Straight Connector 9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auto">
          <a:xfrm>
            <a:off x="4724400" y="2057400"/>
            <a:ext cx="3962400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3962400" cy="63976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962400" cy="3692525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 marL="457200" indent="-222250">
              <a:defRPr sz="1600"/>
            </a:lvl2pPr>
            <a:lvl3pPr marL="692150" indent="-234950">
              <a:defRPr sz="1600"/>
            </a:lvl3pPr>
            <a:lvl4pPr marL="914400" indent="-222250">
              <a:defRPr sz="1600"/>
            </a:lvl4pPr>
            <a:lvl5pPr marL="1149350" indent="-23495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24400" y="1371600"/>
            <a:ext cx="3963957" cy="63976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0"/>
          </p:nvPr>
        </p:nvSpPr>
        <p:spPr>
          <a:xfrm>
            <a:off x="4737410" y="2174875"/>
            <a:ext cx="3962400" cy="3692525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 marL="457200" indent="-222250">
              <a:defRPr sz="1600"/>
            </a:lvl2pPr>
            <a:lvl3pPr marL="692150" indent="-234950">
              <a:defRPr sz="1600"/>
            </a:lvl3pPr>
            <a:lvl4pPr marL="914400" indent="-222250">
              <a:defRPr sz="1600"/>
            </a:lvl4pPr>
            <a:lvl5pPr marL="1149350" indent="-23495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618356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10"/>
          </p:nvPr>
        </p:nvSpPr>
        <p:spPr>
          <a:xfrm>
            <a:off x="457200" y="1600201"/>
            <a:ext cx="4040188" cy="42672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 marL="457200" indent="-222250">
              <a:defRPr sz="1600"/>
            </a:lvl2pPr>
            <a:lvl3pPr marL="692150" indent="-234950">
              <a:defRPr sz="1600"/>
            </a:lvl3pPr>
            <a:lvl4pPr marL="914400" indent="-222250">
              <a:defRPr sz="1600"/>
            </a:lvl4pPr>
            <a:lvl5pPr marL="1149350" indent="-23495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1"/>
          </p:nvPr>
        </p:nvSpPr>
        <p:spPr>
          <a:xfrm>
            <a:off x="4724400" y="1600200"/>
            <a:ext cx="3962400" cy="42672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 marL="457200" indent="-222250">
              <a:defRPr sz="1600"/>
            </a:lvl2pPr>
            <a:lvl3pPr marL="692150" indent="-234950">
              <a:defRPr sz="1600"/>
            </a:lvl3pPr>
            <a:lvl4pPr marL="914400" indent="-222250">
              <a:defRPr sz="1600"/>
            </a:lvl4pPr>
            <a:lvl5pPr marL="1149350" indent="-23495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771972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>
            <a:cxnSpLocks noChangeShapeType="1"/>
          </p:cNvCxnSpPr>
          <p:nvPr userDrawn="1"/>
        </p:nvCxnSpPr>
        <p:spPr bwMode="auto">
          <a:xfrm>
            <a:off x="457200" y="1905000"/>
            <a:ext cx="2547938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" name="Straight Connector 9"/>
          <p:cNvCxnSpPr>
            <a:cxnSpLocks noChangeShapeType="1"/>
          </p:cNvCxnSpPr>
          <p:nvPr userDrawn="1"/>
        </p:nvCxnSpPr>
        <p:spPr bwMode="auto">
          <a:xfrm>
            <a:off x="3276600" y="1905000"/>
            <a:ext cx="2547938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" name="Straight Connector 10"/>
          <p:cNvCxnSpPr>
            <a:cxnSpLocks noChangeShapeType="1"/>
          </p:cNvCxnSpPr>
          <p:nvPr userDrawn="1"/>
        </p:nvCxnSpPr>
        <p:spPr bwMode="auto">
          <a:xfrm>
            <a:off x="6062663" y="1905000"/>
            <a:ext cx="2547937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81201"/>
            <a:ext cx="2547257" cy="37338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2"/>
          </p:nvPr>
        </p:nvSpPr>
        <p:spPr>
          <a:xfrm>
            <a:off x="457200" y="1447800"/>
            <a:ext cx="2547257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3"/>
          </p:nvPr>
        </p:nvSpPr>
        <p:spPr>
          <a:xfrm>
            <a:off x="3276600" y="1981200"/>
            <a:ext cx="2547257" cy="37338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4"/>
          </p:nvPr>
        </p:nvSpPr>
        <p:spPr>
          <a:xfrm>
            <a:off x="3276600" y="1447799"/>
            <a:ext cx="2547257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6063343" y="1981200"/>
            <a:ext cx="2547257" cy="37338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6"/>
          </p:nvPr>
        </p:nvSpPr>
        <p:spPr>
          <a:xfrm>
            <a:off x="6063343" y="1447799"/>
            <a:ext cx="2547257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016568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7801"/>
            <a:ext cx="2590800" cy="42672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/>
          </p:nvPr>
        </p:nvSpPr>
        <p:spPr>
          <a:xfrm>
            <a:off x="3276600" y="1447800"/>
            <a:ext cx="2590800" cy="42672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/>
          </p:nvPr>
        </p:nvSpPr>
        <p:spPr>
          <a:xfrm>
            <a:off x="6096000" y="1447800"/>
            <a:ext cx="2590800" cy="42672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4690440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447800"/>
            <a:ext cx="1905000" cy="42672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/>
          </p:nvPr>
        </p:nvSpPr>
        <p:spPr>
          <a:xfrm>
            <a:off x="2590800" y="1447800"/>
            <a:ext cx="1905000" cy="42672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/>
          </p:nvPr>
        </p:nvSpPr>
        <p:spPr>
          <a:xfrm>
            <a:off x="4648200" y="1447800"/>
            <a:ext cx="1905000" cy="42672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2"/>
          </p:nvPr>
        </p:nvSpPr>
        <p:spPr>
          <a:xfrm>
            <a:off x="6705600" y="1447800"/>
            <a:ext cx="1905000" cy="42672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3841094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8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auto">
          <a:xfrm>
            <a:off x="4649788" y="2057400"/>
            <a:ext cx="4037012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" name="Straight Connector 9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auto">
          <a:xfrm>
            <a:off x="457200" y="2057400"/>
            <a:ext cx="3884613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" name="Straight Connector 8"/>
          <p:cNvCxnSpPr>
            <a:cxnSpLocks noChangeShapeType="1"/>
          </p:cNvCxnSpPr>
          <p:nvPr userDrawn="1">
            <p:custDataLst>
              <p:tags r:id="rId3"/>
            </p:custDataLst>
          </p:nvPr>
        </p:nvCxnSpPr>
        <p:spPr bwMode="auto">
          <a:xfrm>
            <a:off x="4648200" y="4378325"/>
            <a:ext cx="4037013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" name="Straight Connector 9"/>
          <p:cNvCxnSpPr>
            <a:cxnSpLocks noChangeShapeType="1"/>
          </p:cNvCxnSpPr>
          <p:nvPr userDrawn="1">
            <p:custDataLst>
              <p:tags r:id="rId4"/>
            </p:custDataLst>
          </p:nvPr>
        </p:nvCxnSpPr>
        <p:spPr bwMode="auto">
          <a:xfrm>
            <a:off x="455613" y="4378325"/>
            <a:ext cx="3884612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3886200" cy="63976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886200" cy="13303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 marL="914400" indent="-222250">
              <a:defRPr sz="1400"/>
            </a:lvl4pPr>
            <a:lvl5pPr marL="1149350" indent="-234950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9788" y="1371600"/>
            <a:ext cx="4040187" cy="63976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0"/>
          </p:nvPr>
        </p:nvSpPr>
        <p:spPr>
          <a:xfrm>
            <a:off x="4662798" y="2174875"/>
            <a:ext cx="4038600" cy="13303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 marL="914400" indent="-222250">
              <a:defRPr sz="1400"/>
            </a:lvl4pPr>
            <a:lvl5pPr marL="1149350" indent="-234950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1"/>
          </p:nvPr>
        </p:nvSpPr>
        <p:spPr>
          <a:xfrm>
            <a:off x="455612" y="3692525"/>
            <a:ext cx="3886200" cy="63976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2"/>
          </p:nvPr>
        </p:nvSpPr>
        <p:spPr>
          <a:xfrm>
            <a:off x="455612" y="4495800"/>
            <a:ext cx="3886200" cy="13303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 marL="914400" indent="-222250">
              <a:defRPr sz="1400"/>
            </a:lvl4pPr>
            <a:lvl5pPr marL="1149350" indent="-234950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48200" y="3692525"/>
            <a:ext cx="4040187" cy="63976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4"/>
          </p:nvPr>
        </p:nvSpPr>
        <p:spPr>
          <a:xfrm>
            <a:off x="4661210" y="4495800"/>
            <a:ext cx="4038600" cy="13303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 marL="914400" indent="-222250">
              <a:defRPr sz="1400"/>
            </a:lvl4pPr>
            <a:lvl5pPr marL="1149350" indent="-234950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029082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8"/>
          <p:cNvCxnSpPr>
            <a:cxnSpLocks noChangeShapeType="1"/>
          </p:cNvCxnSpPr>
          <p:nvPr userDrawn="1"/>
        </p:nvCxnSpPr>
        <p:spPr bwMode="auto">
          <a:xfrm>
            <a:off x="533400" y="1905000"/>
            <a:ext cx="1905000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" name="Straight Connector 9"/>
          <p:cNvCxnSpPr>
            <a:cxnSpLocks noChangeShapeType="1"/>
          </p:cNvCxnSpPr>
          <p:nvPr userDrawn="1"/>
        </p:nvCxnSpPr>
        <p:spPr bwMode="auto">
          <a:xfrm>
            <a:off x="2590800" y="1905000"/>
            <a:ext cx="1905000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" name="Straight Connector 10"/>
          <p:cNvCxnSpPr>
            <a:cxnSpLocks noChangeShapeType="1"/>
          </p:cNvCxnSpPr>
          <p:nvPr userDrawn="1"/>
        </p:nvCxnSpPr>
        <p:spPr bwMode="auto">
          <a:xfrm>
            <a:off x="4648200" y="1905000"/>
            <a:ext cx="1905000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" name="Straight Connector 11"/>
          <p:cNvCxnSpPr>
            <a:cxnSpLocks noChangeShapeType="1"/>
          </p:cNvCxnSpPr>
          <p:nvPr userDrawn="1"/>
        </p:nvCxnSpPr>
        <p:spPr bwMode="auto">
          <a:xfrm>
            <a:off x="6705600" y="1905000"/>
            <a:ext cx="1905000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905000"/>
            <a:ext cx="1905000" cy="3810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/>
          </p:nvPr>
        </p:nvSpPr>
        <p:spPr>
          <a:xfrm>
            <a:off x="2590800" y="1905000"/>
            <a:ext cx="1905000" cy="3810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/>
          </p:nvPr>
        </p:nvSpPr>
        <p:spPr>
          <a:xfrm>
            <a:off x="4648200" y="1905000"/>
            <a:ext cx="1905000" cy="3810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2"/>
          </p:nvPr>
        </p:nvSpPr>
        <p:spPr>
          <a:xfrm>
            <a:off x="6705600" y="1905000"/>
            <a:ext cx="1905000" cy="3810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533399" y="1371600"/>
            <a:ext cx="1905001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/>
          </p:nvPr>
        </p:nvSpPr>
        <p:spPr>
          <a:xfrm>
            <a:off x="2590800" y="1371600"/>
            <a:ext cx="1905001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5"/>
          </p:nvPr>
        </p:nvSpPr>
        <p:spPr>
          <a:xfrm>
            <a:off x="4648200" y="1371600"/>
            <a:ext cx="1905001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6"/>
          </p:nvPr>
        </p:nvSpPr>
        <p:spPr>
          <a:xfrm>
            <a:off x="6705600" y="1371600"/>
            <a:ext cx="1905001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727035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1093" y="1447800"/>
            <a:ext cx="1600200" cy="42672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/>
          </p:nvPr>
        </p:nvSpPr>
        <p:spPr>
          <a:xfrm>
            <a:off x="2133600" y="1447800"/>
            <a:ext cx="1600200" cy="42672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/>
          </p:nvPr>
        </p:nvSpPr>
        <p:spPr>
          <a:xfrm>
            <a:off x="3810000" y="1447800"/>
            <a:ext cx="1600200" cy="42672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2"/>
          </p:nvPr>
        </p:nvSpPr>
        <p:spPr>
          <a:xfrm>
            <a:off x="5486400" y="1447800"/>
            <a:ext cx="1600200" cy="42672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7162800" y="1447800"/>
            <a:ext cx="1600200" cy="42672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6629724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8"/>
          <p:cNvCxnSpPr>
            <a:cxnSpLocks noChangeShapeType="1"/>
          </p:cNvCxnSpPr>
          <p:nvPr userDrawn="1"/>
        </p:nvCxnSpPr>
        <p:spPr bwMode="auto">
          <a:xfrm>
            <a:off x="425450" y="1905000"/>
            <a:ext cx="1631950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" name="Straight Connector 9"/>
          <p:cNvCxnSpPr>
            <a:cxnSpLocks noChangeShapeType="1"/>
          </p:cNvCxnSpPr>
          <p:nvPr userDrawn="1"/>
        </p:nvCxnSpPr>
        <p:spPr bwMode="auto">
          <a:xfrm>
            <a:off x="2114550" y="1905000"/>
            <a:ext cx="1631950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" name="Straight Connector 10"/>
          <p:cNvCxnSpPr>
            <a:cxnSpLocks noChangeShapeType="1"/>
          </p:cNvCxnSpPr>
          <p:nvPr userDrawn="1"/>
        </p:nvCxnSpPr>
        <p:spPr bwMode="auto">
          <a:xfrm>
            <a:off x="3790950" y="1905000"/>
            <a:ext cx="1631950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" name="Straight Connector 11"/>
          <p:cNvCxnSpPr>
            <a:cxnSpLocks noChangeShapeType="1"/>
          </p:cNvCxnSpPr>
          <p:nvPr userDrawn="1"/>
        </p:nvCxnSpPr>
        <p:spPr bwMode="auto">
          <a:xfrm>
            <a:off x="5467350" y="1905000"/>
            <a:ext cx="1631950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" name="Straight Connector 12"/>
          <p:cNvCxnSpPr>
            <a:cxnSpLocks noChangeShapeType="1"/>
          </p:cNvCxnSpPr>
          <p:nvPr userDrawn="1"/>
        </p:nvCxnSpPr>
        <p:spPr bwMode="auto">
          <a:xfrm>
            <a:off x="7143750" y="1905000"/>
            <a:ext cx="1631950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1093" y="1905000"/>
            <a:ext cx="1600200" cy="3810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 marL="457200" indent="-222250">
              <a:defRPr sz="1200"/>
            </a:lvl2pPr>
            <a:lvl3pPr marL="692150" indent="-234950"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/>
          </p:nvPr>
        </p:nvSpPr>
        <p:spPr>
          <a:xfrm>
            <a:off x="2133600" y="1905000"/>
            <a:ext cx="1600200" cy="3810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 marL="457200" indent="-222250">
              <a:defRPr sz="1200"/>
            </a:lvl2pPr>
            <a:lvl3pPr marL="692150" indent="-234950"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/>
          </p:nvPr>
        </p:nvSpPr>
        <p:spPr>
          <a:xfrm>
            <a:off x="3810000" y="1905000"/>
            <a:ext cx="1600200" cy="3810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 marL="457200" indent="-222250">
              <a:defRPr sz="1200"/>
            </a:lvl2pPr>
            <a:lvl3pPr marL="692150" indent="-234950"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2"/>
          </p:nvPr>
        </p:nvSpPr>
        <p:spPr>
          <a:xfrm>
            <a:off x="5486400" y="1905000"/>
            <a:ext cx="1600200" cy="3810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 marL="457200" indent="-222250">
              <a:defRPr sz="1200"/>
            </a:lvl2pPr>
            <a:lvl3pPr marL="692150" indent="-234950"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7162800" y="1905000"/>
            <a:ext cx="1600200" cy="3810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 marL="457200" indent="-222250">
              <a:defRPr sz="1200"/>
            </a:lvl2pPr>
            <a:lvl3pPr marL="692150" indent="-234950"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4"/>
          </p:nvPr>
        </p:nvSpPr>
        <p:spPr>
          <a:xfrm>
            <a:off x="444499" y="1371600"/>
            <a:ext cx="1612901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5"/>
          </p:nvPr>
        </p:nvSpPr>
        <p:spPr>
          <a:xfrm>
            <a:off x="2133600" y="1371600"/>
            <a:ext cx="1612901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6"/>
          </p:nvPr>
        </p:nvSpPr>
        <p:spPr>
          <a:xfrm>
            <a:off x="3810000" y="1371600"/>
            <a:ext cx="1612901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7"/>
          </p:nvPr>
        </p:nvSpPr>
        <p:spPr>
          <a:xfrm>
            <a:off x="5486400" y="1371600"/>
            <a:ext cx="1612901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18"/>
          </p:nvPr>
        </p:nvSpPr>
        <p:spPr>
          <a:xfrm>
            <a:off x="7162800" y="1371600"/>
            <a:ext cx="1612901" cy="457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50949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le, Clip 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lipArt Placeholder 2"/>
          <p:cNvSpPr>
            <a:spLocks noGrp="1"/>
          </p:cNvSpPr>
          <p:nvPr>
            <p:ph type="clipArt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02E8CC-338D-4C99-951E-94B66075889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9177297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2895600"/>
            <a:ext cx="9144000" cy="5334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-7434" y="2895600"/>
            <a:ext cx="9151434" cy="533400"/>
          </a:xfrm>
          <a:prstGeom prst="rect">
            <a:avLst/>
          </a:prstGeom>
        </p:spPr>
        <p:txBody>
          <a:bodyPr anchor="ctr"/>
          <a:lstStyle>
            <a:lvl1pPr algn="ctr"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832695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6350" y="2895600"/>
            <a:ext cx="9150350" cy="5334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-7434" y="2895600"/>
            <a:ext cx="9151434" cy="533400"/>
          </a:xfrm>
          <a:prstGeom prst="rect">
            <a:avLst/>
          </a:prstGeom>
        </p:spPr>
        <p:txBody>
          <a:bodyPr anchor="ctr"/>
          <a:lstStyle>
            <a:lvl1pPr algn="ctr"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958349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Medicine &amp; Biological Sciences Title Slid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15240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6019800"/>
            <a:ext cx="9144000" cy="838200"/>
          </a:xfrm>
          <a:prstGeom prst="rect">
            <a:avLst/>
          </a:prstGeom>
          <a:solidFill>
            <a:srgbClr val="8B0021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defRPr/>
            </a:pPr>
            <a:endParaRPr lang="en-US" altLang="en-US" smtClean="0">
              <a:solidFill>
                <a:srgbClr val="98083A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057400" y="3657600"/>
            <a:ext cx="6400800" cy="1219200"/>
          </a:xfrm>
          <a:prstGeom prst="rect">
            <a:avLst/>
          </a:prstGeom>
        </p:spPr>
        <p:txBody>
          <a:bodyPr vert="horz" anchor="b"/>
          <a:lstStyle>
            <a:lvl1pPr>
              <a:buNone/>
              <a:defRPr sz="4000" baseline="0">
                <a:solidFill>
                  <a:srgbClr val="8B0021"/>
                </a:solidFill>
                <a:latin typeface="Times"/>
                <a:cs typeface="Time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2057400" y="4959350"/>
            <a:ext cx="6400800" cy="381000"/>
          </a:xfrm>
          <a:prstGeom prst="rect">
            <a:avLst/>
          </a:prstGeom>
        </p:spPr>
        <p:txBody>
          <a:bodyPr vert="horz"/>
          <a:lstStyle>
            <a:lvl1pPr>
              <a:buNone/>
              <a:defRPr sz="2400"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2057400" y="5416550"/>
            <a:ext cx="3810000" cy="298450"/>
          </a:xfrm>
          <a:prstGeom prst="rect">
            <a:avLst/>
          </a:prstGeom>
        </p:spPr>
        <p:txBody>
          <a:bodyPr vert="horz"/>
          <a:lstStyle>
            <a:lvl1pPr>
              <a:buNone/>
              <a:defRPr sz="1800"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86161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-15875" y="0"/>
            <a:ext cx="4557713" cy="6858000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6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37" r="44241" b="20589"/>
          <a:stretch>
            <a:fillRect/>
          </a:stretch>
        </p:blipFill>
        <p:spPr bwMode="auto">
          <a:xfrm>
            <a:off x="-693738" y="0"/>
            <a:ext cx="523557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/>
          <p:cNvCxnSpPr/>
          <p:nvPr/>
        </p:nvCxnSpPr>
        <p:spPr>
          <a:xfrm>
            <a:off x="1547813" y="1666875"/>
            <a:ext cx="760888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9475" y="306388"/>
            <a:ext cx="2779713" cy="1360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-15875" y="6569075"/>
            <a:ext cx="9172575" cy="288925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13278" y="4119592"/>
            <a:ext cx="4116122" cy="452408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b="0" i="0" cap="none" spc="0" baseline="0">
                <a:solidFill>
                  <a:schemeClr val="bg1">
                    <a:lumMod val="1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2057400" y="1143000"/>
            <a:ext cx="4116122" cy="2941364"/>
          </a:xfrm>
          <a:prstGeom prst="rect">
            <a:avLst/>
          </a:prstGeom>
        </p:spPr>
        <p:txBody>
          <a:bodyPr lIns="274320" anchor="b">
            <a:normAutofit/>
          </a:bodyPr>
          <a:lstStyle>
            <a:lvl1pPr algn="l">
              <a:lnSpc>
                <a:spcPct val="100000"/>
              </a:lnSpc>
              <a:defRPr sz="4000" b="0" i="0" spc="-100" baseline="0">
                <a:solidFill>
                  <a:srgbClr val="8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93405" y="4572000"/>
            <a:ext cx="4114800" cy="6096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tabLst/>
              <a:defRPr sz="2000">
                <a:solidFill>
                  <a:schemeClr val="bg1">
                    <a:lumMod val="10000"/>
                  </a:schemeClr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3633B9-BE01-4056-9D42-B5EDCE646CCF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1111362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6200" y="3498850"/>
            <a:ext cx="222250" cy="1482725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7" name="Straight Connector 6"/>
          <p:cNvCxnSpPr/>
          <p:nvPr/>
        </p:nvCxnSpPr>
        <p:spPr>
          <a:xfrm>
            <a:off x="0" y="1666875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9475" y="306388"/>
            <a:ext cx="2779713" cy="1360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7877175" y="1784350"/>
            <a:ext cx="804863" cy="4819650"/>
          </a:xfrm>
          <a:prstGeom prst="rect">
            <a:avLst/>
          </a:prstGeom>
          <a:solidFill>
            <a:srgbClr val="8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0" name="Rectangle 9"/>
          <p:cNvSpPr/>
          <p:nvPr/>
        </p:nvSpPr>
        <p:spPr>
          <a:xfrm>
            <a:off x="8347075" y="1752600"/>
            <a:ext cx="804863" cy="4819650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3" name="Rectangle 12"/>
          <p:cNvSpPr/>
          <p:nvPr/>
        </p:nvSpPr>
        <p:spPr>
          <a:xfrm>
            <a:off x="0" y="6569075"/>
            <a:ext cx="9158288" cy="288925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4114799" y="1753046"/>
            <a:ext cx="4231763" cy="4819203"/>
          </a:xfrm>
          <a:solidFill>
            <a:schemeClr val="bg1">
              <a:lumMod val="85000"/>
            </a:schemeClr>
          </a:solidFill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" y="2039631"/>
            <a:ext cx="4116122" cy="2941364"/>
          </a:xfrm>
          <a:prstGeom prst="rect">
            <a:avLst/>
          </a:prstGeom>
        </p:spPr>
        <p:txBody>
          <a:bodyPr lIns="274320" anchor="b">
            <a:normAutofit/>
          </a:bodyPr>
          <a:lstStyle>
            <a:lvl1pPr algn="l">
              <a:lnSpc>
                <a:spcPct val="100000"/>
              </a:lnSpc>
              <a:defRPr sz="4000" b="0" i="0" spc="-100" baseline="0">
                <a:solidFill>
                  <a:srgbClr val="8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85800" y="5105400"/>
            <a:ext cx="3581400" cy="452408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b="0" i="0" cap="none" spc="0" baseline="0">
                <a:solidFill>
                  <a:schemeClr val="bg1">
                    <a:lumMod val="1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6950" y="5557808"/>
            <a:ext cx="3580250" cy="6096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tabLst/>
              <a:defRPr sz="2000">
                <a:solidFill>
                  <a:schemeClr val="bg1">
                    <a:lumMod val="10000"/>
                  </a:schemeClr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3633B9-BE01-4056-9D42-B5EDCE646CCF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2344139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0" y="3886200"/>
            <a:ext cx="9144000" cy="0"/>
          </a:xfrm>
          <a:prstGeom prst="line">
            <a:avLst/>
          </a:prstGeom>
          <a:ln w="3175">
            <a:solidFill>
              <a:srgbClr val="7676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747713" y="3352800"/>
            <a:ext cx="7645400" cy="1066800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9475" y="306388"/>
            <a:ext cx="2779713" cy="1360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0" y="6569075"/>
            <a:ext cx="9158288" cy="288925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Title Placeholder 12"/>
          <p:cNvSpPr>
            <a:spLocks noGrp="1"/>
          </p:cNvSpPr>
          <p:nvPr>
            <p:ph type="title"/>
          </p:nvPr>
        </p:nvSpPr>
        <p:spPr>
          <a:xfrm>
            <a:off x="1146047" y="3532864"/>
            <a:ext cx="6854953" cy="7066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3633B9-BE01-4056-9D42-B5EDCE646CCF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7992708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ord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133856" y="1902500"/>
            <a:ext cx="7181469" cy="3299085"/>
          </a:xfrm>
        </p:spPr>
        <p:txBody>
          <a:bodyPr anchor="t">
            <a:normAutofit/>
          </a:bodyPr>
          <a:lstStyle>
            <a:lvl1pPr marL="285750" indent="-285750">
              <a:lnSpc>
                <a:spcPct val="100000"/>
              </a:lnSpc>
              <a:buClrTx/>
              <a:buFont typeface="Wingdings" panose="05000000000000000000" pitchFamily="2" charset="2"/>
              <a:buChar char="§"/>
              <a:defRPr sz="3200" baseline="0"/>
            </a:lvl1pPr>
            <a:lvl2pPr marL="502920" indent="0">
              <a:buNone/>
              <a:defRPr/>
            </a:lvl2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D3BA4C-1622-49F2-B3DE-8B9C4F2FD67B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7901850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867650" y="1417638"/>
            <a:ext cx="804863" cy="4819650"/>
          </a:xfrm>
          <a:prstGeom prst="rect">
            <a:avLst/>
          </a:prstGeom>
          <a:solidFill>
            <a:srgbClr val="8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Rectangle 6"/>
          <p:cNvSpPr/>
          <p:nvPr/>
        </p:nvSpPr>
        <p:spPr>
          <a:xfrm>
            <a:off x="8337550" y="1417638"/>
            <a:ext cx="804863" cy="4819650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" y="1417638"/>
            <a:ext cx="8337014" cy="4819338"/>
          </a:xfrm>
        </p:spPr>
        <p:txBody>
          <a:bodyPr rtlCol="0">
            <a:norm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3633B9-BE01-4056-9D42-B5EDCE646CCF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6920583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ord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6"/>
          <p:cNvGrpSpPr>
            <a:grpSpLocks/>
          </p:cNvGrpSpPr>
          <p:nvPr/>
        </p:nvGrpSpPr>
        <p:grpSpPr bwMode="auto">
          <a:xfrm>
            <a:off x="7300913" y="1784350"/>
            <a:ext cx="1036637" cy="3417888"/>
            <a:chOff x="7063151" y="1784404"/>
            <a:chExt cx="1273864" cy="4819338"/>
          </a:xfrm>
        </p:grpSpPr>
        <p:sp>
          <p:nvSpPr>
            <p:cNvPr id="6" name="Rectangle 5"/>
            <p:cNvSpPr/>
            <p:nvPr/>
          </p:nvSpPr>
          <p:spPr>
            <a:xfrm>
              <a:off x="7063151" y="1784404"/>
              <a:ext cx="803725" cy="4819338"/>
            </a:xfrm>
            <a:prstGeom prst="rect">
              <a:avLst/>
            </a:prstGeom>
            <a:solidFill>
              <a:srgbClr val="800000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Rectangle 6"/>
            <p:cNvSpPr/>
            <p:nvPr/>
          </p:nvSpPr>
          <p:spPr>
            <a:xfrm>
              <a:off x="7533290" y="1784404"/>
              <a:ext cx="803725" cy="4819338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115569" y="1785079"/>
            <a:ext cx="3297161" cy="3416459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8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4413250" y="1784404"/>
            <a:ext cx="2887663" cy="3417834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2" name="Title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3633B9-BE01-4056-9D42-B5EDCE646CCF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3672607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27038" y="1066800"/>
            <a:ext cx="8259762" cy="4546600"/>
          </a:xfrm>
          <a:prstGeom prst="rect">
            <a:avLst/>
          </a:prstGeom>
          <a:solidFill>
            <a:srgbClr val="8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Shape 2708"/>
          <p:cNvSpPr/>
          <p:nvPr/>
        </p:nvSpPr>
        <p:spPr>
          <a:xfrm>
            <a:off x="8053388" y="4679950"/>
            <a:ext cx="385762" cy="385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8" y="20618"/>
                  <a:pt x="982" y="16222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2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moveTo>
                  <a:pt x="8836" y="13888"/>
                </a:moveTo>
                <a:lnTo>
                  <a:pt x="8836" y="7712"/>
                </a:lnTo>
                <a:lnTo>
                  <a:pt x="14241" y="10800"/>
                </a:lnTo>
                <a:cubicBezTo>
                  <a:pt x="14241" y="10800"/>
                  <a:pt x="8836" y="13888"/>
                  <a:pt x="8836" y="13888"/>
                </a:cubicBezTo>
                <a:close/>
                <a:moveTo>
                  <a:pt x="15520" y="10422"/>
                </a:moveTo>
                <a:lnTo>
                  <a:pt x="15525" y="10416"/>
                </a:lnTo>
                <a:lnTo>
                  <a:pt x="15438" y="10367"/>
                </a:lnTo>
                <a:cubicBezTo>
                  <a:pt x="15425" y="10361"/>
                  <a:pt x="15414" y="10351"/>
                  <a:pt x="15401" y="10346"/>
                </a:cubicBezTo>
                <a:lnTo>
                  <a:pt x="8652" y="6489"/>
                </a:lnTo>
                <a:lnTo>
                  <a:pt x="8647" y="6495"/>
                </a:lnTo>
                <a:cubicBezTo>
                  <a:pt x="8563" y="6428"/>
                  <a:pt x="8461" y="6382"/>
                  <a:pt x="8345" y="6382"/>
                </a:cubicBezTo>
                <a:cubicBezTo>
                  <a:pt x="8075" y="6382"/>
                  <a:pt x="7855" y="6601"/>
                  <a:pt x="7855" y="6873"/>
                </a:cubicBezTo>
                <a:lnTo>
                  <a:pt x="7855" y="14727"/>
                </a:lnTo>
                <a:cubicBezTo>
                  <a:pt x="7855" y="14999"/>
                  <a:pt x="8075" y="15218"/>
                  <a:pt x="8345" y="15218"/>
                </a:cubicBezTo>
                <a:cubicBezTo>
                  <a:pt x="8461" y="15218"/>
                  <a:pt x="8563" y="15172"/>
                  <a:pt x="8647" y="15105"/>
                </a:cubicBezTo>
                <a:lnTo>
                  <a:pt x="8652" y="15111"/>
                </a:lnTo>
                <a:lnTo>
                  <a:pt x="15401" y="11254"/>
                </a:lnTo>
                <a:cubicBezTo>
                  <a:pt x="15414" y="11249"/>
                  <a:pt x="15425" y="11240"/>
                  <a:pt x="15438" y="11233"/>
                </a:cubicBezTo>
                <a:lnTo>
                  <a:pt x="15525" y="11184"/>
                </a:lnTo>
                <a:lnTo>
                  <a:pt x="15520" y="11178"/>
                </a:lnTo>
                <a:cubicBezTo>
                  <a:pt x="15632" y="11088"/>
                  <a:pt x="15709" y="10955"/>
                  <a:pt x="15709" y="10800"/>
                </a:cubicBezTo>
                <a:cubicBezTo>
                  <a:pt x="15709" y="10645"/>
                  <a:pt x="15632" y="10512"/>
                  <a:pt x="15520" y="10422"/>
                </a:cubicBezTo>
              </a:path>
            </a:pathLst>
          </a:custGeom>
          <a:solidFill>
            <a:schemeClr val="tx1"/>
          </a:solidFill>
          <a:ln w="12700">
            <a:solidFill>
              <a:schemeClr val="tx1"/>
            </a:solidFill>
            <a:miter lim="400000"/>
          </a:ln>
        </p:spPr>
        <p:txBody>
          <a:bodyPr lIns="14284" tIns="14284" rIns="14284" bIns="14284" anchor="ctr"/>
          <a:lstStyle/>
          <a:p>
            <a:pPr defTabSz="171399" fontAlgn="auto">
              <a:spcBef>
                <a:spcPts val="0"/>
              </a:spcBef>
              <a:spcAft>
                <a:spcPts val="0"/>
              </a:spcAft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Media Placeholder 2"/>
          <p:cNvSpPr>
            <a:spLocks noGrp="1"/>
          </p:cNvSpPr>
          <p:nvPr>
            <p:ph type="media" sz="quarter" idx="11"/>
          </p:nvPr>
        </p:nvSpPr>
        <p:spPr>
          <a:xfrm>
            <a:off x="627838" y="1252516"/>
            <a:ext cx="7123297" cy="3812788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media</a:t>
            </a:r>
            <a:endParaRPr lang="en-US" noProof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3633B9-BE01-4056-9D42-B5EDCE646CCF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24176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ord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133856" y="1902500"/>
            <a:ext cx="7181469" cy="3299085"/>
          </a:xfrm>
        </p:spPr>
        <p:txBody>
          <a:bodyPr anchor="t">
            <a:normAutofit/>
          </a:bodyPr>
          <a:lstStyle>
            <a:lvl1pPr marL="285750" indent="-285750">
              <a:lnSpc>
                <a:spcPct val="100000"/>
              </a:lnSpc>
              <a:buClrTx/>
              <a:buFont typeface="Wingdings" panose="05000000000000000000" pitchFamily="2" charset="2"/>
              <a:buChar char="§"/>
              <a:defRPr sz="3200" baseline="0"/>
            </a:lvl1pPr>
            <a:lvl2pPr marL="502920" indent="0">
              <a:buNone/>
              <a:defRPr/>
            </a:lvl2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D3BA4C-1622-49F2-B3DE-8B9C4F2FD67B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1876657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0" y="2716213"/>
            <a:ext cx="93884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747713" y="1901825"/>
            <a:ext cx="7645400" cy="1816100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9475" y="306388"/>
            <a:ext cx="2779713" cy="1360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Placeholder 12"/>
          <p:cNvSpPr>
            <a:spLocks noGrp="1"/>
          </p:cNvSpPr>
          <p:nvPr>
            <p:ph type="title"/>
          </p:nvPr>
        </p:nvSpPr>
        <p:spPr>
          <a:xfrm>
            <a:off x="1146047" y="2362733"/>
            <a:ext cx="7169277" cy="7066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338261" y="4179223"/>
            <a:ext cx="6977063" cy="2019300"/>
          </a:xfrm>
        </p:spPr>
        <p:txBody>
          <a:bodyPr/>
          <a:lstStyle>
            <a:lvl1pPr marL="0" indent="0">
              <a:buNone/>
              <a:defRPr sz="3600"/>
            </a:lvl1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1301385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74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F4FCC59D-449D-46D8-8632-F05ED22403C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6177231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8B93CBBC-7A66-4607-B8FC-99FC9146E0A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0145155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4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C211EADB-EF5D-416F-A2D7-C8E34F1D300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5141610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BA574B6B-9AB4-4A58-926B-6C4C2D61678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5857210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96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9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76C4AC27-C451-495B-A042-0E3204EC8EB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6012871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310D28D5-AC0C-41A0-ADFC-FFB01031BFB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0747616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FCE3D37B-EAC1-4AD1-A295-42812ACBBB0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3706847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03CF2258-ADAA-47D3-91F6-9E84053BEDC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3964789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6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406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4A4355CB-7010-4F0B-911E-4BF27C270B6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386334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74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CD481B-7B2F-4087-84A6-14B606722AB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2567616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2338A2F9-E631-4780-9C29-375A4253D7B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3589428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0E18E2DC-13D3-4A5E-8EB3-A9D68F17D0E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9051023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E9F82CF7-5EDD-4D32-83BB-EDA4DCA4CD2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7448087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8789F8E3-B94F-4D91-8936-38BBC3D84C9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5904981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5"/>
            <a:ext cx="8229600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74582C39-CB96-40EF-930F-B1B9A8CB296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9460080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le, Clip 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lipArt Placeholder 2"/>
          <p:cNvSpPr>
            <a:spLocks noGrp="1"/>
          </p:cNvSpPr>
          <p:nvPr>
            <p:ph type="clipArt"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3E3814CF-18D8-4BA3-A69F-EE6597EE857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9716662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CCB52A03-16E5-428B-8AA8-48CFBCA07F5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327479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3"/>
            <a:ext cx="4038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99"/>
            <a:ext cx="40386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07E8EAF0-491E-4B14-A569-86640582D25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2306857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3"/>
            <a:ext cx="4038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3"/>
            <a:ext cx="4038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99"/>
            <a:ext cx="40386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99"/>
            <a:ext cx="40386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B47C6485-5311-4B50-97AE-150C8722BAA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9956619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73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ea typeface="+mn-ea"/>
              </a:defRPr>
            </a:lvl1pPr>
          </a:lstStyle>
          <a:p>
            <a:pPr>
              <a:defRPr/>
            </a:pPr>
            <a:fld id="{54FC342B-9F26-4C31-8BF6-4900323FF52C}" type="datetimeFigureOut">
              <a:rPr lang="en-US"/>
              <a:pPr>
                <a:defRPr/>
              </a:pPr>
              <a:t>3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3AC59A6C-1CEB-466C-AEBD-C7D13178FD9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151637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39E461-FA9E-40F9-BE8B-A3204EEF6E5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7581427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ea typeface="+mn-ea"/>
              </a:defRPr>
            </a:lvl1pPr>
          </a:lstStyle>
          <a:p>
            <a:pPr>
              <a:defRPr/>
            </a:pPr>
            <a:fld id="{27804D08-AA78-4D1F-818E-324AAB9A5EE6}" type="datetimeFigureOut">
              <a:rPr lang="en-US"/>
              <a:pPr>
                <a:defRPr/>
              </a:pPr>
              <a:t>3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A30080D-B784-4046-B270-FEC3A3F77CF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2168266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4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ea typeface="+mn-ea"/>
              </a:defRPr>
            </a:lvl1pPr>
          </a:lstStyle>
          <a:p>
            <a:pPr>
              <a:defRPr/>
            </a:pPr>
            <a:fld id="{DE5FA684-D688-47E0-BCA1-E9E215F51BD3}" type="datetimeFigureOut">
              <a:rPr lang="en-US"/>
              <a:pPr>
                <a:defRPr/>
              </a:pPr>
              <a:t>3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C7AC9424-A85B-4B8E-B1F5-8385186AD84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1262604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ea typeface="+mn-ea"/>
              </a:defRPr>
            </a:lvl1pPr>
          </a:lstStyle>
          <a:p>
            <a:pPr>
              <a:defRPr/>
            </a:pPr>
            <a:fld id="{0E711D05-A09B-4769-86BB-C95CF0EE8D9B}" type="datetimeFigureOut">
              <a:rPr lang="en-US"/>
              <a:pPr>
                <a:defRPr/>
              </a:pPr>
              <a:t>3/30/2020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CFE05C9B-8935-4CE3-AA37-5016412BFAA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5234724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96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9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ea typeface="+mn-ea"/>
              </a:defRPr>
            </a:lvl1pPr>
          </a:lstStyle>
          <a:p>
            <a:pPr>
              <a:defRPr/>
            </a:pPr>
            <a:fld id="{E0D0763F-9449-4466-9D97-592DD13D60E2}" type="datetimeFigureOut">
              <a:rPr lang="en-US"/>
              <a:pPr>
                <a:defRPr/>
              </a:pPr>
              <a:t>3/30/2020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F8D7B806-4383-426E-96D7-4781490CC19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7956206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ea typeface="+mn-ea"/>
              </a:defRPr>
            </a:lvl1pPr>
          </a:lstStyle>
          <a:p>
            <a:pPr>
              <a:defRPr/>
            </a:pPr>
            <a:fld id="{283B78C5-6A3C-4E04-9CE6-2470CA491F40}" type="datetimeFigureOut">
              <a:rPr lang="en-US"/>
              <a:pPr>
                <a:defRPr/>
              </a:pPr>
              <a:t>3/30/2020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35FF3B60-CC5C-47DD-83F3-1EC068F1691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9797799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ea typeface="+mn-ea"/>
              </a:defRPr>
            </a:lvl1pPr>
          </a:lstStyle>
          <a:p>
            <a:pPr>
              <a:defRPr/>
            </a:pPr>
            <a:fld id="{E6F411A4-43EF-4807-95BA-55FDFE277D2B}" type="datetimeFigureOut">
              <a:rPr lang="en-US"/>
              <a:pPr>
                <a:defRPr/>
              </a:pPr>
              <a:t>3/30/2020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E54E87F7-0B9C-49C2-9DAC-47D24DE26FF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0149898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ea typeface="+mn-ea"/>
              </a:defRPr>
            </a:lvl1pPr>
          </a:lstStyle>
          <a:p>
            <a:pPr>
              <a:defRPr/>
            </a:pPr>
            <a:fld id="{879D0A5A-0717-4CED-A4C2-6ECD079A2783}" type="datetimeFigureOut">
              <a:rPr lang="en-US"/>
              <a:pPr>
                <a:defRPr/>
              </a:pPr>
              <a:t>3/30/2020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428329F5-380A-4081-85BA-A9EE730C250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122449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6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406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ea typeface="+mn-ea"/>
              </a:defRPr>
            </a:lvl1pPr>
          </a:lstStyle>
          <a:p>
            <a:pPr>
              <a:defRPr/>
            </a:pPr>
            <a:fld id="{E31239B0-479A-4D84-9F47-C72F23C31500}" type="datetimeFigureOut">
              <a:rPr lang="en-US"/>
              <a:pPr>
                <a:defRPr/>
              </a:pPr>
              <a:t>3/30/2020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89A57872-7441-446F-8806-905FAEB0C04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57062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ea typeface="+mn-ea"/>
              </a:defRPr>
            </a:lvl1pPr>
          </a:lstStyle>
          <a:p>
            <a:pPr>
              <a:defRPr/>
            </a:pPr>
            <a:fld id="{29EE9477-0DBB-4618-9DFB-68C29AF28D06}" type="datetimeFigureOut">
              <a:rPr lang="en-US"/>
              <a:pPr>
                <a:defRPr/>
              </a:pPr>
              <a:t>3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1F828E66-A8A5-4057-AF8B-645B5680796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4591516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ea typeface="+mn-ea"/>
              </a:defRPr>
            </a:lvl1pPr>
          </a:lstStyle>
          <a:p>
            <a:pPr>
              <a:defRPr/>
            </a:pPr>
            <a:fld id="{DAB20D02-FAA1-434D-8AE0-5BDFF54F5989}" type="datetimeFigureOut">
              <a:rPr lang="en-US"/>
              <a:pPr>
                <a:defRPr/>
              </a:pPr>
              <a:t>3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C03460CB-9B78-4D23-A1B5-C5D2FEA6302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005332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4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EA41CA-3AF8-4C8D-88DB-4B4D03F9D24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1407104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UC_MED_Horiz_2C_CMYK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146800"/>
            <a:ext cx="2667000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42900" y="1028700"/>
            <a:ext cx="8445500" cy="47752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buFont typeface="Arial"/>
              <a:buChar char="•"/>
              <a:defRPr sz="1600" b="0" i="0">
                <a:latin typeface="Arial"/>
                <a:cs typeface="Arial"/>
              </a:defRPr>
            </a:lvl1pPr>
            <a:lvl2pPr>
              <a:defRPr sz="1600">
                <a:latin typeface="Ariel"/>
                <a:cs typeface="Ariel"/>
              </a:defRPr>
            </a:lvl2pPr>
            <a:lvl3pPr>
              <a:defRPr sz="1600">
                <a:latin typeface="Ariel"/>
                <a:cs typeface="Ariel"/>
              </a:defRPr>
            </a:lvl3pPr>
            <a:lvl4pPr>
              <a:defRPr sz="1600">
                <a:latin typeface="Ariel"/>
                <a:cs typeface="Ariel"/>
              </a:defRPr>
            </a:lvl4pPr>
            <a:lvl5pPr>
              <a:defRPr sz="1600">
                <a:latin typeface="Ariel"/>
                <a:cs typeface="Arie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Next Line of information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42900" y="342900"/>
            <a:ext cx="6972300" cy="558800"/>
          </a:xfrm>
          <a:prstGeom prst="rect">
            <a:avLst/>
          </a:prstGeom>
        </p:spPr>
        <p:txBody>
          <a:bodyPr/>
          <a:lstStyle>
            <a:lvl1pPr algn="l">
              <a:buNone/>
              <a:defRPr sz="2400">
                <a:solidFill>
                  <a:srgbClr val="8B0021"/>
                </a:solidFill>
                <a:latin typeface="Times New Roman"/>
                <a:cs typeface="Times New Roman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13"/>
          <p:cNvSpPr>
            <a:spLocks noGrp="1"/>
          </p:cNvSpPr>
          <p:nvPr>
            <p:ph type="sldNum" sz="quarter" idx="14"/>
          </p:nvPr>
        </p:nvSpPr>
        <p:spPr>
          <a:xfrm>
            <a:off x="8394700" y="6248400"/>
            <a:ext cx="381000" cy="365125"/>
          </a:xfrm>
        </p:spPr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EA302C6-2D72-41A7-AE68-93F6D0D6400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6" name="Footer Placeholder 14"/>
          <p:cNvSpPr>
            <a:spLocks noGrp="1"/>
          </p:cNvSpPr>
          <p:nvPr>
            <p:ph type="ftr" sz="quarter" idx="15"/>
          </p:nvPr>
        </p:nvSpPr>
        <p:spPr>
          <a:xfrm>
            <a:off x="5651500" y="6248400"/>
            <a:ext cx="2895600" cy="365125"/>
          </a:xfrm>
        </p:spPr>
        <p:txBody>
          <a:bodyPr/>
          <a:lstStyle>
            <a:lvl1pPr algn="r" eaLnBrk="0" hangingPunct="0">
              <a:defRPr sz="1200" b="0" i="0">
                <a:solidFill>
                  <a:srgbClr val="8B002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en-US"/>
              <a:t>Presentation Title Here  |</a:t>
            </a:r>
          </a:p>
        </p:txBody>
      </p:sp>
    </p:spTree>
    <p:extLst>
      <p:ext uri="{BB962C8B-B14F-4D97-AF65-F5344CB8AC3E}">
        <p14:creationId xmlns:p14="http://schemas.microsoft.com/office/powerpoint/2010/main" val="52345140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Medicine &amp; Biological Sciences Title Slid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15240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6019800"/>
            <a:ext cx="9144000" cy="838200"/>
          </a:xfrm>
          <a:prstGeom prst="rect">
            <a:avLst/>
          </a:prstGeom>
          <a:solidFill>
            <a:srgbClr val="8B0021"/>
          </a:solidFill>
          <a:ln>
            <a:noFill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1" hangingPunct="1">
              <a:defRPr/>
            </a:pPr>
            <a:endParaRPr lang="en-US" dirty="0">
              <a:solidFill>
                <a:srgbClr val="98083A"/>
              </a:solidFill>
              <a:latin typeface="Calibri" pitchFamily="34" charset="0"/>
              <a:ea typeface="ヒラギノ角ゴ Pro W3" pitchFamily="-111" charset="-128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057400" y="3657600"/>
            <a:ext cx="6400800" cy="1219200"/>
          </a:xfrm>
          <a:prstGeom prst="rect">
            <a:avLst/>
          </a:prstGeom>
        </p:spPr>
        <p:txBody>
          <a:bodyPr anchor="b"/>
          <a:lstStyle>
            <a:lvl1pPr>
              <a:buNone/>
              <a:defRPr sz="4000" baseline="0">
                <a:solidFill>
                  <a:srgbClr val="8B0021"/>
                </a:solidFill>
                <a:latin typeface="Times"/>
                <a:cs typeface="Time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2057400" y="4959351"/>
            <a:ext cx="6400800" cy="381000"/>
          </a:xfrm>
          <a:prstGeom prst="rect">
            <a:avLst/>
          </a:prstGeom>
        </p:spPr>
        <p:txBody>
          <a:bodyPr/>
          <a:lstStyle>
            <a:lvl1pPr>
              <a:buNone/>
              <a:defRPr sz="2400"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2057400" y="5416609"/>
            <a:ext cx="3810000" cy="298451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6842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UC_MED&amp;BS_Horiz_2C_CMYK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0" y="6072188"/>
            <a:ext cx="2514600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55600" y="1028702"/>
            <a:ext cx="8432800" cy="47625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buFont typeface="Arial"/>
              <a:buChar char="•"/>
              <a:defRPr sz="1600" b="0" i="0">
                <a:latin typeface="Arial"/>
                <a:cs typeface="Arial"/>
              </a:defRPr>
            </a:lvl1pPr>
            <a:lvl2pPr>
              <a:defRPr sz="1600">
                <a:latin typeface="Ariel"/>
                <a:cs typeface="Ariel"/>
              </a:defRPr>
            </a:lvl2pPr>
            <a:lvl3pPr>
              <a:defRPr sz="1600">
                <a:latin typeface="Ariel"/>
                <a:cs typeface="Ariel"/>
              </a:defRPr>
            </a:lvl3pPr>
            <a:lvl4pPr>
              <a:defRPr sz="1600">
                <a:latin typeface="Ariel"/>
                <a:cs typeface="Ariel"/>
              </a:defRPr>
            </a:lvl4pPr>
            <a:lvl5pPr>
              <a:defRPr sz="1600">
                <a:latin typeface="Ariel"/>
                <a:cs typeface="Arie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Next Line of information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42900" y="342900"/>
            <a:ext cx="6972300" cy="558800"/>
          </a:xfrm>
          <a:prstGeom prst="rect">
            <a:avLst/>
          </a:prstGeom>
        </p:spPr>
        <p:txBody>
          <a:bodyPr/>
          <a:lstStyle>
            <a:lvl1pPr algn="l">
              <a:buNone/>
              <a:defRPr sz="2400">
                <a:solidFill>
                  <a:srgbClr val="8B0021"/>
                </a:solidFill>
                <a:latin typeface="Times New Roman"/>
                <a:cs typeface="Times New Roma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14"/>
          </p:nvPr>
        </p:nvSpPr>
        <p:spPr>
          <a:xfrm>
            <a:off x="7315200" y="419103"/>
            <a:ext cx="1473200" cy="419100"/>
          </a:xfrm>
          <a:prstGeom prst="rect">
            <a:avLst/>
          </a:prstGeom>
        </p:spPr>
        <p:txBody>
          <a:bodyPr/>
          <a:lstStyle>
            <a:lvl1pPr algn="r">
              <a:buNone/>
              <a:defRPr sz="1200"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13"/>
          <p:cNvSpPr>
            <a:spLocks noGrp="1"/>
          </p:cNvSpPr>
          <p:nvPr>
            <p:ph type="sldNum" sz="quarter" idx="15"/>
          </p:nvPr>
        </p:nvSpPr>
        <p:spPr>
          <a:xfrm>
            <a:off x="8394700" y="6245225"/>
            <a:ext cx="381000" cy="365125"/>
          </a:xfrm>
        </p:spPr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7C593CC1-D6B9-4AC8-B84A-D10B596360E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Footer Placeholder 14"/>
          <p:cNvSpPr>
            <a:spLocks noGrp="1"/>
          </p:cNvSpPr>
          <p:nvPr>
            <p:ph type="ftr" sz="quarter" idx="16"/>
          </p:nvPr>
        </p:nvSpPr>
        <p:spPr>
          <a:xfrm>
            <a:off x="5651500" y="6245225"/>
            <a:ext cx="2895600" cy="365125"/>
          </a:xfrm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solidFill>
                  <a:srgbClr val="8B0021"/>
                </a:solidFill>
                <a:latin typeface="Arial" pitchFamily="34" charset="0"/>
                <a:ea typeface="ヒラギノ角ゴ Pro W3" pitchFamily="-111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Presentation Title Here  |</a:t>
            </a:r>
          </a:p>
        </p:txBody>
      </p:sp>
    </p:spTree>
    <p:extLst>
      <p:ext uri="{BB962C8B-B14F-4D97-AF65-F5344CB8AC3E}">
        <p14:creationId xmlns:p14="http://schemas.microsoft.com/office/powerpoint/2010/main" val="50264878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UC_MED&amp;BS_Horiz_2C_CMYK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0" y="6072188"/>
            <a:ext cx="2514600" cy="65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55600" y="1028702"/>
            <a:ext cx="8432800" cy="47625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buFont typeface="Arial"/>
              <a:buChar char="•"/>
              <a:defRPr sz="1600" b="0" i="0">
                <a:latin typeface="Arial"/>
                <a:cs typeface="Arial"/>
              </a:defRPr>
            </a:lvl1pPr>
            <a:lvl2pPr>
              <a:defRPr sz="1600">
                <a:latin typeface="Ariel"/>
                <a:cs typeface="Ariel"/>
              </a:defRPr>
            </a:lvl2pPr>
            <a:lvl3pPr>
              <a:defRPr sz="1600">
                <a:latin typeface="Ariel"/>
                <a:cs typeface="Ariel"/>
              </a:defRPr>
            </a:lvl3pPr>
            <a:lvl4pPr>
              <a:defRPr sz="1600">
                <a:latin typeface="Ariel"/>
                <a:cs typeface="Ariel"/>
              </a:defRPr>
            </a:lvl4pPr>
            <a:lvl5pPr>
              <a:defRPr sz="1600">
                <a:latin typeface="Ariel"/>
                <a:cs typeface="Arie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Next Line of information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42900" y="342900"/>
            <a:ext cx="6972300" cy="558800"/>
          </a:xfrm>
          <a:prstGeom prst="rect">
            <a:avLst/>
          </a:prstGeom>
        </p:spPr>
        <p:txBody>
          <a:bodyPr/>
          <a:lstStyle>
            <a:lvl1pPr algn="l">
              <a:buNone/>
              <a:defRPr sz="2400">
                <a:solidFill>
                  <a:srgbClr val="8B0021"/>
                </a:solidFill>
                <a:latin typeface="Times New Roman"/>
                <a:cs typeface="Times New Roma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ontent Placeholder 14"/>
          <p:cNvSpPr>
            <a:spLocks noGrp="1"/>
          </p:cNvSpPr>
          <p:nvPr>
            <p:ph sz="quarter" idx="14"/>
          </p:nvPr>
        </p:nvSpPr>
        <p:spPr>
          <a:xfrm>
            <a:off x="7315200" y="419103"/>
            <a:ext cx="1473200" cy="419100"/>
          </a:xfrm>
          <a:prstGeom prst="rect">
            <a:avLst/>
          </a:prstGeom>
        </p:spPr>
        <p:txBody>
          <a:bodyPr/>
          <a:lstStyle>
            <a:lvl1pPr algn="r">
              <a:buNone/>
              <a:defRPr sz="1200"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13"/>
          <p:cNvSpPr>
            <a:spLocks noGrp="1"/>
          </p:cNvSpPr>
          <p:nvPr>
            <p:ph type="sldNum" sz="quarter" idx="15"/>
          </p:nvPr>
        </p:nvSpPr>
        <p:spPr>
          <a:xfrm>
            <a:off x="8394700" y="6245225"/>
            <a:ext cx="381000" cy="365125"/>
          </a:xfrm>
        </p:spPr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E908CD78-AD69-4A33-816A-F14C4C413BB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7" name="Footer Placeholder 14"/>
          <p:cNvSpPr>
            <a:spLocks noGrp="1"/>
          </p:cNvSpPr>
          <p:nvPr>
            <p:ph type="ftr" sz="quarter" idx="16"/>
          </p:nvPr>
        </p:nvSpPr>
        <p:spPr>
          <a:xfrm>
            <a:off x="5651500" y="6245225"/>
            <a:ext cx="2895600" cy="365125"/>
          </a:xfrm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solidFill>
                  <a:srgbClr val="8B0021"/>
                </a:solidFill>
                <a:latin typeface="Arial" pitchFamily="34" charset="0"/>
                <a:ea typeface="ヒラギノ角ゴ Pro W3" pitchFamily="-111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Presentation Title Here  |</a:t>
            </a:r>
          </a:p>
        </p:txBody>
      </p:sp>
    </p:spTree>
    <p:extLst>
      <p:ext uri="{BB962C8B-B14F-4D97-AF65-F5344CB8AC3E}">
        <p14:creationId xmlns:p14="http://schemas.microsoft.com/office/powerpoint/2010/main" val="20794898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F032A1-D31F-4762-9315-7A0CF353207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407089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96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9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5DBC88-3C2B-4833-959A-940A1EFCF38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862659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2EFD5E-E2B0-4D96-B9E7-A705613B576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79927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3E6FCC-EAAF-4E41-A61B-C210223F409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081265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C40171-88BB-4A45-9A21-4D61EECCDA0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649835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1D3A2C-2F86-4BCA-AC1C-ADBB388B6DE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077495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6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406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8C60E8-0AB6-49CA-AEBC-4F57A287E22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804801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44829F-D0B2-4E21-979E-3B66D8C408E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367807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B7B92C-3D7D-4564-AD55-E50FDA3CBA5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46633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34D1CC-3C29-45DF-88DE-DD3BE6C3D77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099749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44DC92-6443-4D10-AAD5-ABDBDB005C9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045773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758263-34D3-4395-820D-69F42DC0902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624818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3"/>
            <a:ext cx="4038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3"/>
            <a:ext cx="4038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99"/>
            <a:ext cx="40386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99"/>
            <a:ext cx="40386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8DBA91-6269-4F4A-803A-B353F9F6851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13298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74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A524A1-7086-4EE2-8E93-2AFE1AC2C1F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9991562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4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55AB70-E584-4BA4-805D-80EE59D7B89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827098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39D5FE-9985-4A38-8877-4377E49B14C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4359596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4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EBFCE7-441A-4F35-A3DF-E38B16145E9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7096123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600205"/>
            <a:ext cx="43434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5"/>
            <a:ext cx="43434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C6ECB6-0993-4D50-91A0-D7FBB99D4BA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4580091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96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9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AE9FAD-F9C2-4CB3-8E64-9D8134F4823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8212462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6E5D0B-EBC8-44E0-9B73-519209DE9E5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1648091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BA7ACC-01E9-4A3E-BC74-7DCA9922A9A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5057537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F0DFF9-7E4F-4F1B-B3A0-B7628A46CC4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1702292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6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406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584CAB-D7DA-476B-AA45-83473FF0C98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6570213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3109D0-94DC-4616-8538-9F5F9D70236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8924511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34200" y="274639"/>
            <a:ext cx="22098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274639"/>
            <a:ext cx="64770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DF36F6-CF3C-4A92-818A-B3C68884AFD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2667387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4F5FC1-A62A-475E-8669-27625BCD270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2337825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74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E702D3-B947-489E-B62B-A6902D307A7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53993442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2B22ED-7679-459D-A3C5-08DDF4C4DEF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37135261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4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D383EE-4D3A-460A-BFA9-6B9F60AD5C5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25540175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143000"/>
            <a:ext cx="40386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143000"/>
            <a:ext cx="40386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02ACCB-654A-49EC-8E21-701821AD558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09621516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96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9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1686E-FAF2-4909-96F5-EAF8EF21434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27974330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5A7B22-8028-4D31-ACE8-F188EEAB75A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36709286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93ACB9-27E8-4184-8A14-E57B75CC204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45923205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BB00AA-DD03-4C4F-957F-822F55182FB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7466285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6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406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8EE7C3-4E58-41F5-81E0-59D2845AECD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92253278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DC76CA-1539-4D1B-BC5B-077A3E7DD63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0159492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96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9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5ADF61-EC1A-45F4-AA13-20C79DC84FC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2971226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7500" y="-76200"/>
            <a:ext cx="2095500" cy="6096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1002" y="-76200"/>
            <a:ext cx="6134100" cy="6096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FD9415-C8D8-42EF-9D44-3BC7F4F5663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51473836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74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891ECF-A3AF-4330-83C4-248A0D1BE67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4100383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8352DF-755C-4B58-B5B6-C2EC78938D8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6789081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4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58F866-6B89-4C29-BD4D-6CA02B6ED4D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4227524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685F65-7994-46C1-9EC3-ED38FE19CB7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625979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96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9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671051-979B-457B-AB21-41D1FB29FD6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2317803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9F0F8C-5EE1-4CF5-AB90-CB1672A721D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465093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B94B6E-D2B9-4F25-BC70-CBB4A0F5504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6708884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5A3906-601D-480E-A28B-5B402453F98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345593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6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406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5D5A04-7050-4EC9-9F96-D359914832A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822313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A0AA0F-5509-422A-A4E2-7D24AA36E18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1878653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5C08BF-4A68-4492-AE35-49B2A8FC59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5578845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E3B0EB-7740-4643-AE31-680B93D1A82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5472495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5"/>
            <a:ext cx="8229600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684B15-530A-4D79-B613-C0AAFF049FD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3098222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1600205"/>
            <a:ext cx="8229600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210AB6-36E4-430A-BB25-95E86119DB1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2737595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74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61BED5-7EEF-4F18-8673-7819AAD2ECA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6068240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852D07-2893-4848-B0DE-319F9EAF6D7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5008810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4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DD4413-F716-4F9D-B778-79601006CFB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5364548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81DFDE-35BA-4FC3-9EDE-8BE2E2DA635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7129716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96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9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03FBB3-EA05-4875-A923-F8E1675B1BE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321787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E4D235-D5B4-4758-B953-DC10E278B79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82811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BF5246-3637-43B7-9058-26E2C3423D1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2201574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5EB294-3466-4B9F-83A8-D0B0820BEB7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373366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12072B-5D45-4286-A5E4-5AB5E38AA02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9548966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6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406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CF0A7-66C2-474D-83B8-D254CDEBD5C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6741561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1F84FE-FF8F-4884-9D87-237FB3DB9AB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9521793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D29D3C-4851-44CC-B76D-4D60B1F58FB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0880828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5"/>
            <a:ext cx="8229600" cy="452596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BE65C2-8C6F-4AA0-BCD2-4FA9020BD6B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8318739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1600205"/>
            <a:ext cx="8229600" cy="452596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688DE1-9CB6-40EE-B091-89D49BB252D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5478715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0250" y="1905000"/>
            <a:ext cx="7681913" cy="1523495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30249" y="4344988"/>
            <a:ext cx="7681913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658350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, Video etc.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69219" y="649805"/>
            <a:ext cx="7043208" cy="152349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68955" y="4344988"/>
            <a:ext cx="7043208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5539538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7"/>
          <p:cNvSpPr txBox="1">
            <a:spLocks noChangeArrowheads="1"/>
          </p:cNvSpPr>
          <p:nvPr userDrawn="1"/>
        </p:nvSpPr>
        <p:spPr bwMode="auto">
          <a:xfrm>
            <a:off x="8610600" y="6553200"/>
            <a:ext cx="3667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fld id="{42556200-4B63-4FA7-AD16-8EDD9280BDA1}" type="slidenum">
              <a:rPr lang="en-US" altLang="en-US" sz="1200" smtClean="0"/>
              <a:pPr>
                <a:defRPr/>
              </a:pPr>
              <a:t>‹#›</a:t>
            </a:fld>
            <a:endParaRPr lang="en-US" altLang="en-US" sz="120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553998"/>
          </a:xfrm>
        </p:spPr>
        <p:txBody>
          <a:bodyPr/>
          <a:lstStyle>
            <a:lvl1pPr algn="l">
              <a:defRPr sz="4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0" y="1411552"/>
            <a:ext cx="8382000" cy="221086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 marL="1258888" indent="-344488">
              <a:lnSpc>
                <a:spcPct val="90000"/>
              </a:lnSpc>
              <a:buClr>
                <a:schemeClr val="accent2">
                  <a:lumMod val="60000"/>
                  <a:lumOff val="40000"/>
                </a:schemeClr>
              </a:buClr>
              <a:buFont typeface="Calibri" pitchFamily="34" charset="0"/>
              <a:buChar char="‒"/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25583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F81D2C-4EBE-4C1B-A567-9821751D74B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2290918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553998"/>
          </a:xfrm>
        </p:spPr>
        <p:txBody>
          <a:bodyPr/>
          <a:lstStyle>
            <a:lvl1pPr algn="r">
              <a:defRPr sz="4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412875"/>
            <a:ext cx="8382000" cy="1809726"/>
          </a:xfrm>
        </p:spPr>
        <p:txBody>
          <a:bodyPr/>
          <a:lstStyle>
            <a:lvl1pPr>
              <a:lnSpc>
                <a:spcPct val="90000"/>
              </a:lnSpc>
              <a:defRPr sz="2800"/>
            </a:lvl1pPr>
            <a:lvl2pPr>
              <a:lnSpc>
                <a:spcPct val="90000"/>
              </a:lnSpc>
              <a:defRPr sz="2400"/>
            </a:lvl2pPr>
            <a:lvl3pPr marL="1258888" indent="-344488">
              <a:lnSpc>
                <a:spcPct val="90000"/>
              </a:lnSpc>
              <a:buClr>
                <a:schemeClr val="accent2">
                  <a:lumMod val="60000"/>
                  <a:lumOff val="40000"/>
                </a:schemeClr>
              </a:buClr>
              <a:buFont typeface="Calibri" pitchFamily="34" charset="0"/>
              <a:buChar char="‒"/>
              <a:defRPr sz="2000"/>
            </a:lvl3pPr>
            <a:lvl4pPr>
              <a:lnSpc>
                <a:spcPct val="90000"/>
              </a:lnSpc>
              <a:defRPr sz="2000"/>
            </a:lvl4pPr>
            <a:lvl5pPr>
              <a:lnSpc>
                <a:spcPct val="90000"/>
              </a:lnSpc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689347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411553"/>
            <a:ext cx="4114800" cy="2129814"/>
          </a:xfrm>
        </p:spPr>
        <p:txBody>
          <a:bodyPr/>
          <a:lstStyle>
            <a:lvl1pPr marL="339976" indent="-339976">
              <a:lnSpc>
                <a:spcPct val="90000"/>
              </a:lnSpc>
              <a:defRPr sz="2800"/>
            </a:lvl1pPr>
            <a:lvl2pPr marL="673338" indent="-325424">
              <a:lnSpc>
                <a:spcPct val="90000"/>
              </a:lnSpc>
              <a:defRPr sz="2400"/>
            </a:lvl2pPr>
            <a:lvl3pPr marL="953785" indent="-288384">
              <a:lnSpc>
                <a:spcPct val="90000"/>
              </a:lnSpc>
              <a:buClr>
                <a:schemeClr val="accent2">
                  <a:lumMod val="60000"/>
                  <a:lumOff val="40000"/>
                </a:schemeClr>
              </a:buClr>
              <a:buFont typeface="Calibri" pitchFamily="34" charset="0"/>
              <a:buChar char="‒"/>
              <a:defRPr sz="2000"/>
            </a:lvl3pPr>
            <a:lvl4pPr marL="1227618" indent="-273833">
              <a:lnSpc>
                <a:spcPct val="90000"/>
              </a:lnSpc>
              <a:defRPr sz="1800"/>
            </a:lvl4pPr>
            <a:lvl5pPr marL="1516002" indent="-280447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11553"/>
            <a:ext cx="4114800" cy="2129814"/>
          </a:xfrm>
        </p:spPr>
        <p:txBody>
          <a:bodyPr/>
          <a:lstStyle>
            <a:lvl1pPr marL="347914" indent="-347914">
              <a:lnSpc>
                <a:spcPct val="90000"/>
              </a:lnSpc>
              <a:defRPr sz="2800"/>
            </a:lvl1pPr>
            <a:lvl2pPr marL="673338" indent="-339976">
              <a:lnSpc>
                <a:spcPct val="90000"/>
              </a:lnSpc>
              <a:defRPr sz="2400"/>
            </a:lvl2pPr>
            <a:lvl3pPr marL="961722" indent="-302936">
              <a:lnSpc>
                <a:spcPct val="90000"/>
              </a:lnSpc>
              <a:buClr>
                <a:schemeClr val="accent2">
                  <a:lumMod val="60000"/>
                  <a:lumOff val="40000"/>
                </a:schemeClr>
              </a:buClr>
              <a:buFont typeface="Calibri" pitchFamily="34" charset="0"/>
              <a:buChar char="‒"/>
              <a:defRPr sz="2000"/>
            </a:lvl3pPr>
            <a:lvl4pPr marL="1227618" indent="-265896">
              <a:lnSpc>
                <a:spcPct val="90000"/>
              </a:lnSpc>
              <a:defRPr sz="1800"/>
            </a:lvl4pPr>
            <a:lvl5pPr marL="1516002" indent="-273833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39905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1553"/>
            <a:ext cx="4114800" cy="692498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0999" y="2174875"/>
            <a:ext cx="4114800" cy="1537344"/>
          </a:xfrm>
        </p:spPr>
        <p:txBody>
          <a:bodyPr/>
          <a:lstStyle>
            <a:lvl1pPr marL="281770" indent="-281770">
              <a:defRPr sz="2300"/>
            </a:lvl1pPr>
            <a:lvl2pPr marL="562218" indent="-265896">
              <a:defRPr sz="2000"/>
            </a:lvl2pPr>
            <a:lvl3pPr marL="813562" indent="-243407">
              <a:defRPr sz="1800"/>
            </a:lvl3pPr>
            <a:lvl4pPr marL="1050354" indent="-228856">
              <a:defRPr sz="1700"/>
            </a:lvl4pPr>
            <a:lvl5pPr marL="1279210" indent="-20636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981" y="1411553"/>
            <a:ext cx="4117019" cy="692498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117974" cy="1537344"/>
          </a:xfrm>
        </p:spPr>
        <p:txBody>
          <a:bodyPr/>
          <a:lstStyle>
            <a:lvl1pPr marL="296321" indent="-296321">
              <a:defRPr sz="2300"/>
            </a:lvl1pPr>
            <a:lvl2pPr marL="570155" indent="-273833">
              <a:defRPr sz="2000"/>
            </a:lvl2pPr>
            <a:lvl3pPr marL="821499" indent="-244730">
              <a:defRPr sz="1800"/>
            </a:lvl3pPr>
            <a:lvl4pPr marL="1050354" indent="-236793">
              <a:defRPr sz="1700"/>
            </a:lvl4pPr>
            <a:lvl5pPr marL="1279210" indent="-220919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5434200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8076858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6349167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ALKIN - Prints in GRAYS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7804355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 descr="bottomba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72250"/>
            <a:ext cx="914400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381000" y="1411553"/>
            <a:ext cx="8382000" cy="2200602"/>
          </a:xfrm>
        </p:spPr>
        <p:txBody>
          <a:bodyPr/>
          <a:lstStyle>
            <a:lvl1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1pPr>
            <a:lvl2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2pPr>
            <a:lvl3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3pPr>
            <a:lvl4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4pPr>
            <a:lvl5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2786689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 descr="bottomba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72250"/>
            <a:ext cx="914400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381000" y="1411553"/>
            <a:ext cx="8382000" cy="2200602"/>
          </a:xfrm>
        </p:spPr>
        <p:txBody>
          <a:bodyPr/>
          <a:lstStyle>
            <a:lvl1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1pPr>
            <a:lvl2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2pPr>
            <a:lvl3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3pPr>
            <a:lvl4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4pPr>
            <a:lvl5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0" y="6238875"/>
            <a:ext cx="9144001" cy="619125"/>
          </a:xfrm>
          <a:solidFill>
            <a:srgbClr val="FFFF99"/>
          </a:solidFill>
        </p:spPr>
        <p:txBody>
          <a:bodyPr lIns="152394" tIns="76197" rIns="152394" bIns="76197" anchor="b">
            <a:noAutofit/>
          </a:bodyPr>
          <a:lstStyle>
            <a:lvl1pPr algn="r">
              <a:buFont typeface="Arial" pitchFamily="34" charset="0"/>
              <a:buNone/>
              <a:defRPr>
                <a:solidFill>
                  <a:srgbClr val="000000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9939566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mo, Video etc.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69219" y="649805"/>
            <a:ext cx="7043208" cy="152349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68955" y="4344988"/>
            <a:ext cx="7043208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22049" y="2355850"/>
            <a:ext cx="7690114" cy="1384994"/>
          </a:xfrm>
        </p:spPr>
        <p:txBody>
          <a:bodyPr>
            <a:noAutofit/>
            <a:scene3d>
              <a:camera prst="orthographicFront"/>
              <a:lightRig rig="flat" dir="t"/>
            </a:scene3d>
            <a:sp3d extrusionH="88900" contourW="2540">
              <a:bevelT w="38100" h="31750"/>
              <a:contourClr>
                <a:srgbClr val="F4A234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10000" b="1" i="1" u="none" strike="noStrike" kern="1200" cap="none" spc="-642" normalizeH="0" baseline="0" noProof="0" dirty="0" smtClean="0">
                <a:ln w="11430"/>
                <a:gradFill>
                  <a:gsLst>
                    <a:gs pos="0">
                      <a:srgbClr val="FF9929">
                        <a:lumMod val="20000"/>
                        <a:lumOff val="80000"/>
                      </a:srgbClr>
                    </a:gs>
                    <a:gs pos="28000">
                      <a:srgbClr val="F8F57B"/>
                    </a:gs>
                    <a:gs pos="62000">
                      <a:srgbClr val="D5B953"/>
                    </a:gs>
                    <a:gs pos="88000">
                      <a:srgbClr val="D1943B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5032077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6651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81000" y="1412875"/>
            <a:ext cx="8382000" cy="2135188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0798740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6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406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CA0E36-D66F-49A7-A337-692A1787B22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8802857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6651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381000" y="1412875"/>
            <a:ext cx="8382000" cy="2135188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55350277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 flipV="1">
            <a:off x="7391400" y="6248400"/>
            <a:ext cx="0" cy="49212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0" y="762000"/>
            <a:ext cx="9144000" cy="7938"/>
          </a:xfrm>
          <a:prstGeom prst="line">
            <a:avLst/>
          </a:prstGeom>
          <a:ln w="3810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 Same Side Corner Rectangle 6"/>
          <p:cNvSpPr/>
          <p:nvPr userDrawn="1"/>
        </p:nvSpPr>
        <p:spPr>
          <a:xfrm>
            <a:off x="7699375" y="196850"/>
            <a:ext cx="1330325" cy="51911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lnSpc>
                <a:spcPts val="1588"/>
              </a:lnSpc>
              <a:defRPr/>
            </a:pPr>
            <a:endParaRPr lang="en-US" sz="1500" cap="small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6163" y="6299200"/>
            <a:ext cx="1233487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11"/>
          <p:cNvSpPr txBox="1">
            <a:spLocks noChangeArrowheads="1"/>
          </p:cNvSpPr>
          <p:nvPr userDrawn="1"/>
        </p:nvSpPr>
        <p:spPr bwMode="auto">
          <a:xfrm>
            <a:off x="7437438" y="-31750"/>
            <a:ext cx="1801812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defRPr/>
            </a:pPr>
            <a:r>
              <a:rPr lang="en-US" altLang="en-US" sz="1100" smtClean="0">
                <a:solidFill>
                  <a:srgbClr val="FF0000"/>
                </a:solidFill>
              </a:rPr>
              <a:t>CONFIDENTIAL DRAFT</a:t>
            </a:r>
          </a:p>
        </p:txBody>
      </p:sp>
      <p:pic>
        <p:nvPicPr>
          <p:cNvPr id="11" name="Picture 12" descr="cid:image005.jpg@01D0CBA8.9992BFA0">
            <a:hlinkClick r:id="rId3"/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750" y="6275388"/>
            <a:ext cx="995363" cy="465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2"/>
          <p:cNvSpPr>
            <a:spLocks noGrp="1"/>
          </p:cNvSpPr>
          <p:nvPr>
            <p:ph idx="1"/>
          </p:nvPr>
        </p:nvSpPr>
        <p:spPr>
          <a:xfrm>
            <a:off x="152400" y="757286"/>
            <a:ext cx="8839200" cy="5292679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55448" y="186270"/>
            <a:ext cx="8229600" cy="548640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782879" y="196847"/>
            <a:ext cx="1153303" cy="519063"/>
          </a:xfrm>
          <a:noFill/>
        </p:spPr>
        <p:txBody>
          <a:bodyPr anchor="ctr" anchorCtr="1"/>
          <a:lstStyle>
            <a:lvl1pPr marL="0" indent="0" algn="ctr">
              <a:lnSpc>
                <a:spcPts val="1324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24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</a:defRPr>
            </a:lvl1pPr>
            <a:lvl2pPr marL="449505" indent="0">
              <a:buFontTx/>
              <a:buNone/>
              <a:defRPr/>
            </a:lvl2pPr>
            <a:lvl3pPr marL="899011" indent="0">
              <a:buFontTx/>
              <a:buNone/>
              <a:defRPr/>
            </a:lvl3pPr>
            <a:lvl4pPr marL="1348516" indent="0">
              <a:buFontTx/>
              <a:buNone/>
              <a:defRPr/>
            </a:lvl4pPr>
            <a:lvl5pPr marL="1798021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3" name="Footer Placeholder 14"/>
          <p:cNvSpPr>
            <a:spLocks noGrp="1"/>
          </p:cNvSpPr>
          <p:nvPr>
            <p:ph type="ftr" sz="quarter" idx="15"/>
          </p:nvPr>
        </p:nvSpPr>
        <p:spPr>
          <a:xfrm>
            <a:off x="155575" y="64198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" name="Slide Number Placeholder 1"/>
          <p:cNvSpPr>
            <a:spLocks noGrp="1"/>
          </p:cNvSpPr>
          <p:nvPr>
            <p:ph type="sldNum" sz="quarter" idx="16"/>
          </p:nvPr>
        </p:nvSpPr>
        <p:spPr>
          <a:xfrm>
            <a:off x="3090863" y="6384925"/>
            <a:ext cx="289877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707C4296-B9AD-44D3-B45A-BBE4874F1A2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40476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0" y="762000"/>
            <a:ext cx="9144000" cy="7938"/>
          </a:xfrm>
          <a:prstGeom prst="line">
            <a:avLst/>
          </a:prstGeom>
          <a:ln w="3810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ound Same Side Corner Rectangle 5"/>
          <p:cNvSpPr/>
          <p:nvPr userDrawn="1"/>
        </p:nvSpPr>
        <p:spPr>
          <a:xfrm>
            <a:off x="7699375" y="196850"/>
            <a:ext cx="1330325" cy="51911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lnSpc>
                <a:spcPts val="1588"/>
              </a:lnSpc>
              <a:defRPr/>
            </a:pPr>
            <a:endParaRPr lang="en-US" sz="1500" cap="small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extBox 9"/>
          <p:cNvSpPr txBox="1">
            <a:spLocks noChangeArrowheads="1"/>
          </p:cNvSpPr>
          <p:nvPr userDrawn="1"/>
        </p:nvSpPr>
        <p:spPr bwMode="auto">
          <a:xfrm>
            <a:off x="7437438" y="-31750"/>
            <a:ext cx="1801812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defRPr/>
            </a:pPr>
            <a:r>
              <a:rPr lang="en-US" altLang="en-US" sz="1100" smtClean="0">
                <a:solidFill>
                  <a:srgbClr val="FF0000"/>
                </a:solidFill>
              </a:rPr>
              <a:t>CONFIDENTIAL DRAF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idx="1"/>
          </p:nvPr>
        </p:nvSpPr>
        <p:spPr>
          <a:xfrm>
            <a:off x="152400" y="757286"/>
            <a:ext cx="8839200" cy="5292679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55448" y="186270"/>
            <a:ext cx="8229600" cy="548640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782879" y="196847"/>
            <a:ext cx="1153303" cy="519063"/>
          </a:xfrm>
          <a:noFill/>
        </p:spPr>
        <p:txBody>
          <a:bodyPr anchor="ctr" anchorCtr="1"/>
          <a:lstStyle>
            <a:lvl1pPr marL="0" indent="0" algn="ctr">
              <a:lnSpc>
                <a:spcPts val="1324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24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</a:defRPr>
            </a:lvl1pPr>
            <a:lvl2pPr marL="449505" indent="0">
              <a:buFontTx/>
              <a:buNone/>
              <a:defRPr/>
            </a:lvl2pPr>
            <a:lvl3pPr marL="899011" indent="0">
              <a:buFontTx/>
              <a:buNone/>
              <a:defRPr/>
            </a:lvl3pPr>
            <a:lvl4pPr marL="1348516" indent="0">
              <a:buFontTx/>
              <a:buNone/>
              <a:defRPr/>
            </a:lvl4pPr>
            <a:lvl5pPr marL="1798021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433148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 flipV="1">
            <a:off x="7391400" y="6248400"/>
            <a:ext cx="0" cy="49212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0" y="762000"/>
            <a:ext cx="9144000" cy="7938"/>
          </a:xfrm>
          <a:prstGeom prst="line">
            <a:avLst/>
          </a:prstGeom>
          <a:ln w="3810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 Same Side Corner Rectangle 6"/>
          <p:cNvSpPr/>
          <p:nvPr userDrawn="1"/>
        </p:nvSpPr>
        <p:spPr>
          <a:xfrm>
            <a:off x="7699375" y="196850"/>
            <a:ext cx="1330325" cy="51911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lnSpc>
                <a:spcPts val="1588"/>
              </a:lnSpc>
              <a:defRPr/>
            </a:pPr>
            <a:endParaRPr lang="en-US" sz="1500" cap="small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6163" y="6299200"/>
            <a:ext cx="1233487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11"/>
          <p:cNvSpPr txBox="1">
            <a:spLocks noChangeArrowheads="1"/>
          </p:cNvSpPr>
          <p:nvPr userDrawn="1"/>
        </p:nvSpPr>
        <p:spPr bwMode="auto">
          <a:xfrm>
            <a:off x="7437438" y="-31750"/>
            <a:ext cx="1801812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defRPr/>
            </a:pPr>
            <a:r>
              <a:rPr lang="en-US" altLang="en-US" sz="1100" smtClean="0">
                <a:solidFill>
                  <a:srgbClr val="FF0000"/>
                </a:solidFill>
              </a:rPr>
              <a:t>CONFIDENTIAL DRAFT</a:t>
            </a:r>
          </a:p>
        </p:txBody>
      </p:sp>
      <p:pic>
        <p:nvPicPr>
          <p:cNvPr id="11" name="Picture 12" descr="cid:image005.jpg@01D0CBA8.9992BFA0">
            <a:hlinkClick r:id="rId3"/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750" y="6275388"/>
            <a:ext cx="995363" cy="465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2"/>
          <p:cNvSpPr>
            <a:spLocks noGrp="1"/>
          </p:cNvSpPr>
          <p:nvPr>
            <p:ph idx="1"/>
          </p:nvPr>
        </p:nvSpPr>
        <p:spPr>
          <a:xfrm>
            <a:off x="152400" y="757286"/>
            <a:ext cx="8839200" cy="5292679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55448" y="186270"/>
            <a:ext cx="8229600" cy="548640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782879" y="196847"/>
            <a:ext cx="1153303" cy="519063"/>
          </a:xfrm>
          <a:noFill/>
        </p:spPr>
        <p:txBody>
          <a:bodyPr anchor="ctr" anchorCtr="1"/>
          <a:lstStyle>
            <a:lvl1pPr marL="0" indent="0" algn="ctr">
              <a:lnSpc>
                <a:spcPts val="1324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24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</a:defRPr>
            </a:lvl1pPr>
            <a:lvl2pPr marL="449505" indent="0">
              <a:buFontTx/>
              <a:buNone/>
              <a:defRPr/>
            </a:lvl2pPr>
            <a:lvl3pPr marL="899011" indent="0">
              <a:buFontTx/>
              <a:buNone/>
              <a:defRPr/>
            </a:lvl3pPr>
            <a:lvl4pPr marL="1348516" indent="0">
              <a:buFontTx/>
              <a:buNone/>
              <a:defRPr/>
            </a:lvl4pPr>
            <a:lvl5pPr marL="1798021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3" name="Footer Placeholder 14"/>
          <p:cNvSpPr>
            <a:spLocks noGrp="1"/>
          </p:cNvSpPr>
          <p:nvPr>
            <p:ph type="ftr" sz="quarter" idx="15"/>
          </p:nvPr>
        </p:nvSpPr>
        <p:spPr>
          <a:xfrm>
            <a:off x="155575" y="64198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" name="Slide Number Placeholder 1"/>
          <p:cNvSpPr>
            <a:spLocks noGrp="1"/>
          </p:cNvSpPr>
          <p:nvPr>
            <p:ph type="sldNum" sz="quarter" idx="16"/>
          </p:nvPr>
        </p:nvSpPr>
        <p:spPr>
          <a:xfrm>
            <a:off x="3090863" y="6384925"/>
            <a:ext cx="289877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355EAB47-D3E1-4818-8CBE-208A66DC37D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30702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 flipV="1">
            <a:off x="7391400" y="6248400"/>
            <a:ext cx="0" cy="49212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0" y="762000"/>
            <a:ext cx="9144000" cy="7938"/>
          </a:xfrm>
          <a:prstGeom prst="line">
            <a:avLst/>
          </a:prstGeom>
          <a:ln w="3810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 Same Side Corner Rectangle 6"/>
          <p:cNvSpPr/>
          <p:nvPr userDrawn="1"/>
        </p:nvSpPr>
        <p:spPr>
          <a:xfrm>
            <a:off x="7699375" y="196850"/>
            <a:ext cx="1330325" cy="519113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lnSpc>
                <a:spcPts val="1588"/>
              </a:lnSpc>
              <a:defRPr/>
            </a:pPr>
            <a:endParaRPr lang="en-US" sz="1500" cap="small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6163" y="6299200"/>
            <a:ext cx="1233487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11"/>
          <p:cNvSpPr txBox="1">
            <a:spLocks noChangeArrowheads="1"/>
          </p:cNvSpPr>
          <p:nvPr userDrawn="1"/>
        </p:nvSpPr>
        <p:spPr bwMode="auto">
          <a:xfrm>
            <a:off x="7437438" y="-31750"/>
            <a:ext cx="1801812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defRPr/>
            </a:pPr>
            <a:r>
              <a:rPr lang="en-US" altLang="en-US" sz="1100" smtClean="0">
                <a:solidFill>
                  <a:srgbClr val="FF0000"/>
                </a:solidFill>
              </a:rPr>
              <a:t>CONFIDENTIAL DRAFT</a:t>
            </a:r>
          </a:p>
        </p:txBody>
      </p:sp>
      <p:pic>
        <p:nvPicPr>
          <p:cNvPr id="11" name="Picture 12" descr="cid:image005.jpg@01D0CBA8.9992BFA0">
            <a:hlinkClick r:id="rId3"/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750" y="6275388"/>
            <a:ext cx="995363" cy="465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2"/>
          <p:cNvSpPr>
            <a:spLocks noGrp="1"/>
          </p:cNvSpPr>
          <p:nvPr>
            <p:ph idx="1"/>
          </p:nvPr>
        </p:nvSpPr>
        <p:spPr>
          <a:xfrm>
            <a:off x="152400" y="757286"/>
            <a:ext cx="8839200" cy="5292679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55448" y="186270"/>
            <a:ext cx="8229600" cy="548640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782879" y="196847"/>
            <a:ext cx="1153303" cy="519063"/>
          </a:xfrm>
          <a:noFill/>
        </p:spPr>
        <p:txBody>
          <a:bodyPr anchor="ctr" anchorCtr="1"/>
          <a:lstStyle>
            <a:lvl1pPr marL="0" indent="0" algn="ctr">
              <a:lnSpc>
                <a:spcPts val="1324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24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</a:defRPr>
            </a:lvl1pPr>
            <a:lvl2pPr marL="449505" indent="0">
              <a:buFontTx/>
              <a:buNone/>
              <a:defRPr/>
            </a:lvl2pPr>
            <a:lvl3pPr marL="899011" indent="0">
              <a:buFontTx/>
              <a:buNone/>
              <a:defRPr/>
            </a:lvl3pPr>
            <a:lvl4pPr marL="1348516" indent="0">
              <a:buFontTx/>
              <a:buNone/>
              <a:defRPr/>
            </a:lvl4pPr>
            <a:lvl5pPr marL="1798021" indent="0">
              <a:buFontTx/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3" name="Footer Placeholder 14"/>
          <p:cNvSpPr>
            <a:spLocks noGrp="1"/>
          </p:cNvSpPr>
          <p:nvPr>
            <p:ph type="ftr" sz="quarter" idx="15"/>
          </p:nvPr>
        </p:nvSpPr>
        <p:spPr>
          <a:xfrm>
            <a:off x="155575" y="64198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" name="Slide Number Placeholder 1"/>
          <p:cNvSpPr>
            <a:spLocks noGrp="1"/>
          </p:cNvSpPr>
          <p:nvPr>
            <p:ph type="sldNum" sz="quarter" idx="16"/>
          </p:nvPr>
        </p:nvSpPr>
        <p:spPr>
          <a:xfrm>
            <a:off x="3090863" y="6384925"/>
            <a:ext cx="289877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B2409598-23FB-4525-ACA3-34090FAFA95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323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65760" y="256032"/>
            <a:ext cx="4739640" cy="2773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 baseline="0">
                <a:solidFill>
                  <a:schemeClr val="accent1">
                    <a:lumMod val="20000"/>
                    <a:lumOff val="80000"/>
                  </a:schemeClr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1760538" y="5345113"/>
            <a:ext cx="68516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8458200" y="6337300"/>
            <a:ext cx="533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55E4027-7C94-4E95-BFF1-660C4ADCFA5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545540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" y="1280160"/>
            <a:ext cx="8976360" cy="44805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1800" b="0" i="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600" b="0" i="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400" b="0" i="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300" b="0" i="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endParaRPr lang="en-US" dirty="0" smtClean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91440" y="5852160"/>
            <a:ext cx="8979408" cy="731520"/>
          </a:xfrm>
          <a:prstGeom prst="rect">
            <a:avLst/>
          </a:prstGeom>
        </p:spPr>
        <p:txBody>
          <a:bodyPr anchor="b"/>
          <a:lstStyle>
            <a:lvl1pPr marL="0" indent="0" algn="l">
              <a:spcBef>
                <a:spcPts val="0"/>
              </a:spcBef>
              <a:buFont typeface="Arial" pitchFamily="34" charset="0"/>
              <a:buNone/>
              <a:defRPr sz="1000" baseline="0">
                <a:solidFill>
                  <a:srgbClr val="3C3A3B"/>
                </a:solidFill>
                <a:latin typeface="Georgia" pitchFamily="18" charset="0"/>
                <a:cs typeface="Georgia" pitchFamily="18" charset="0"/>
              </a:defRPr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Insert Source/Notes Her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91440" y="91440"/>
            <a:ext cx="896112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40" tIns="45720" rIns="91440" bIns="45720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92947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291217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-15875" y="0"/>
            <a:ext cx="4557713" cy="6858000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6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37" r="44241" b="20589"/>
          <a:stretch>
            <a:fillRect/>
          </a:stretch>
        </p:blipFill>
        <p:spPr bwMode="auto">
          <a:xfrm>
            <a:off x="-693738" y="0"/>
            <a:ext cx="523557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/>
          <p:cNvCxnSpPr/>
          <p:nvPr/>
        </p:nvCxnSpPr>
        <p:spPr>
          <a:xfrm>
            <a:off x="1547813" y="1666875"/>
            <a:ext cx="7608887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9475" y="306388"/>
            <a:ext cx="2779713" cy="1360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-15875" y="6569075"/>
            <a:ext cx="9172575" cy="288925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13278" y="4119592"/>
            <a:ext cx="4116122" cy="452408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b="0" i="0" cap="none" spc="0" baseline="0">
                <a:solidFill>
                  <a:schemeClr val="bg1">
                    <a:lumMod val="1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2057400" y="1143000"/>
            <a:ext cx="4116122" cy="2941364"/>
          </a:xfrm>
          <a:prstGeom prst="rect">
            <a:avLst/>
          </a:prstGeom>
        </p:spPr>
        <p:txBody>
          <a:bodyPr lIns="274320" anchor="b">
            <a:normAutofit/>
          </a:bodyPr>
          <a:lstStyle>
            <a:lvl1pPr algn="l">
              <a:lnSpc>
                <a:spcPct val="100000"/>
              </a:lnSpc>
              <a:defRPr sz="4000" b="0" i="0" spc="-100" baseline="0">
                <a:solidFill>
                  <a:srgbClr val="8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93405" y="4572000"/>
            <a:ext cx="4114800" cy="6096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tabLst/>
              <a:defRPr sz="2000">
                <a:solidFill>
                  <a:schemeClr val="bg1">
                    <a:lumMod val="10000"/>
                  </a:schemeClr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C9CFC8-A414-4A82-9241-5D2A0CB9FB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44986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6200" y="3498850"/>
            <a:ext cx="222250" cy="1482725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7" name="Straight Connector 6"/>
          <p:cNvCxnSpPr/>
          <p:nvPr/>
        </p:nvCxnSpPr>
        <p:spPr>
          <a:xfrm>
            <a:off x="0" y="1666875"/>
            <a:ext cx="914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9475" y="306388"/>
            <a:ext cx="2779713" cy="1360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7877175" y="1784350"/>
            <a:ext cx="804863" cy="4819650"/>
          </a:xfrm>
          <a:prstGeom prst="rect">
            <a:avLst/>
          </a:prstGeom>
          <a:solidFill>
            <a:srgbClr val="8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0" name="Rectangle 9"/>
          <p:cNvSpPr/>
          <p:nvPr/>
        </p:nvSpPr>
        <p:spPr>
          <a:xfrm>
            <a:off x="8347075" y="1752600"/>
            <a:ext cx="804863" cy="4819650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3" name="Rectangle 12"/>
          <p:cNvSpPr/>
          <p:nvPr/>
        </p:nvSpPr>
        <p:spPr>
          <a:xfrm>
            <a:off x="0" y="6569075"/>
            <a:ext cx="9158288" cy="288925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4114799" y="1753046"/>
            <a:ext cx="4231763" cy="4819203"/>
          </a:xfrm>
          <a:solidFill>
            <a:schemeClr val="bg1">
              <a:lumMod val="85000"/>
            </a:schemeClr>
          </a:solidFill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" y="2039631"/>
            <a:ext cx="4116122" cy="2941364"/>
          </a:xfrm>
          <a:prstGeom prst="rect">
            <a:avLst/>
          </a:prstGeom>
        </p:spPr>
        <p:txBody>
          <a:bodyPr lIns="274320" anchor="b">
            <a:normAutofit/>
          </a:bodyPr>
          <a:lstStyle>
            <a:lvl1pPr algn="l">
              <a:lnSpc>
                <a:spcPct val="100000"/>
              </a:lnSpc>
              <a:defRPr sz="4000" b="0" i="0" spc="-100" baseline="0">
                <a:solidFill>
                  <a:srgbClr val="8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685800" y="5105400"/>
            <a:ext cx="3581400" cy="452408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b="0" i="0" cap="none" spc="0" baseline="0">
                <a:solidFill>
                  <a:schemeClr val="bg1">
                    <a:lumMod val="1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6950" y="5557808"/>
            <a:ext cx="3580250" cy="6096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tabLst/>
              <a:defRPr sz="2000">
                <a:solidFill>
                  <a:schemeClr val="bg1">
                    <a:lumMod val="10000"/>
                  </a:schemeClr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C9CFC8-A414-4A82-9241-5D2A0CB9FB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556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0" y="3886200"/>
            <a:ext cx="9144000" cy="0"/>
          </a:xfrm>
          <a:prstGeom prst="line">
            <a:avLst/>
          </a:prstGeom>
          <a:ln w="3175">
            <a:solidFill>
              <a:srgbClr val="7676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747713" y="3352800"/>
            <a:ext cx="7645400" cy="1066800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9475" y="306388"/>
            <a:ext cx="2779713" cy="1360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0" y="6569075"/>
            <a:ext cx="9158288" cy="288925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Title Placeholder 12"/>
          <p:cNvSpPr>
            <a:spLocks noGrp="1"/>
          </p:cNvSpPr>
          <p:nvPr>
            <p:ph type="title"/>
          </p:nvPr>
        </p:nvSpPr>
        <p:spPr>
          <a:xfrm>
            <a:off x="1146047" y="3532864"/>
            <a:ext cx="6854953" cy="7066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C9CFC8-A414-4A82-9241-5D2A0CB9FB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68313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43.xml"/><Relationship Id="rId18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17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32.xml"/><Relationship Id="rId16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35.xml"/><Relationship Id="rId15" Type="http://schemas.openxmlformats.org/officeDocument/2006/relationships/slideLayout" Target="../slideLayouts/slideLayout145.xml"/><Relationship Id="rId10" Type="http://schemas.openxmlformats.org/officeDocument/2006/relationships/slideLayout" Target="../slideLayouts/slideLayout140.xml"/><Relationship Id="rId19" Type="http://schemas.openxmlformats.org/officeDocument/2006/relationships/theme" Target="../theme/theme10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slideLayout" Target="../slideLayouts/slideLayout14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13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60.xml"/><Relationship Id="rId2" Type="http://schemas.openxmlformats.org/officeDocument/2006/relationships/slideLayout" Target="../slideLayouts/slideLayout150.xml"/><Relationship Id="rId16" Type="http://schemas.openxmlformats.org/officeDocument/2006/relationships/theme" Target="../theme/theme11.xml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slideLayout" Target="../slideLayouts/slideLayout159.xml"/><Relationship Id="rId5" Type="http://schemas.openxmlformats.org/officeDocument/2006/relationships/slideLayout" Target="../slideLayouts/slideLayout153.xml"/><Relationship Id="rId15" Type="http://schemas.openxmlformats.org/officeDocument/2006/relationships/slideLayout" Target="../slideLayouts/slideLayout163.xml"/><Relationship Id="rId10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Relationship Id="rId14" Type="http://schemas.openxmlformats.org/officeDocument/2006/relationships/slideLayout" Target="../slideLayouts/slideLayout16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image" Target="../media/image8.png"/><Relationship Id="rId3" Type="http://schemas.openxmlformats.org/officeDocument/2006/relationships/slideLayout" Target="../slideLayouts/slideLayout79.xml"/><Relationship Id="rId21" Type="http://schemas.openxmlformats.org/officeDocument/2006/relationships/theme" Target="../theme/theme7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image" Target="../media/image7.png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image" Target="../media/image6.jpeg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image" Target="../media/image5.png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image" Target="../media/image4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slideLayout" Target="../slideLayouts/slideLayout121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image" Target="../media/image11.emf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7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126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000047"/>
            </a:gs>
            <a:gs pos="100000">
              <a:srgbClr val="00009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853633B9-BE01-4056-9D42-B5EDCE646CC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5331" r:id="rId1"/>
    <p:sldLayoutId id="2147505332" r:id="rId2"/>
    <p:sldLayoutId id="2147505333" r:id="rId3"/>
    <p:sldLayoutId id="2147505334" r:id="rId4"/>
    <p:sldLayoutId id="2147505335" r:id="rId5"/>
    <p:sldLayoutId id="2147505336" r:id="rId6"/>
    <p:sldLayoutId id="2147505337" r:id="rId7"/>
    <p:sldLayoutId id="2147505338" r:id="rId8"/>
    <p:sldLayoutId id="2147505339" r:id="rId9"/>
    <p:sldLayoutId id="2147505340" r:id="rId10"/>
    <p:sldLayoutId id="2147505341" r:id="rId11"/>
    <p:sldLayoutId id="2147505342" r:id="rId12"/>
    <p:sldLayoutId id="2147505777" r:id="rId1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00002F"/>
            </a:gs>
            <a:gs pos="50000">
              <a:srgbClr val="000066"/>
            </a:gs>
            <a:gs pos="100000">
              <a:srgbClr val="00002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436804C-B3BE-4018-B36C-F5D37E793B4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59905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5810" r:id="rId1"/>
    <p:sldLayoutId id="2147505811" r:id="rId2"/>
    <p:sldLayoutId id="2147505812" r:id="rId3"/>
    <p:sldLayoutId id="2147505813" r:id="rId4"/>
    <p:sldLayoutId id="2147505814" r:id="rId5"/>
    <p:sldLayoutId id="2147505815" r:id="rId6"/>
    <p:sldLayoutId id="2147505816" r:id="rId7"/>
    <p:sldLayoutId id="2147505817" r:id="rId8"/>
    <p:sldLayoutId id="2147505818" r:id="rId9"/>
    <p:sldLayoutId id="2147505819" r:id="rId10"/>
    <p:sldLayoutId id="2147505820" r:id="rId11"/>
    <p:sldLayoutId id="2147505821" r:id="rId12"/>
    <p:sldLayoutId id="2147505822" r:id="rId13"/>
    <p:sldLayoutId id="2147505823" r:id="rId14"/>
    <p:sldLayoutId id="2147505824" r:id="rId15"/>
    <p:sldLayoutId id="2147505825" r:id="rId16"/>
    <p:sldLayoutId id="2147505826" r:id="rId17"/>
    <p:sldLayoutId id="2147505827" r:id="rId18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843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rgbClr val="898989"/>
                </a:solidFill>
                <a:latin typeface="Calibri" charset="0"/>
                <a:ea typeface="ＭＳ Ｐゴシック" charset="0"/>
                <a:cs typeface="Arial" charset="0"/>
              </a:defRPr>
            </a:lvl1pPr>
          </a:lstStyle>
          <a:p>
            <a:pPr>
              <a:defRPr/>
            </a:pPr>
            <a:fld id="{0C6A33C3-03C9-4F6C-83D9-A5048941A5E3}" type="datetimeFigureOut">
              <a:rPr lang="en-US"/>
              <a:pPr>
                <a:defRPr/>
              </a:pPr>
              <a:t>3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DDAA70D-95C9-4949-B9DA-AAB21929CBB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31141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5829" r:id="rId1"/>
    <p:sldLayoutId id="2147505830" r:id="rId2"/>
    <p:sldLayoutId id="2147505831" r:id="rId3"/>
    <p:sldLayoutId id="2147505832" r:id="rId4"/>
    <p:sldLayoutId id="2147505833" r:id="rId5"/>
    <p:sldLayoutId id="2147505834" r:id="rId6"/>
    <p:sldLayoutId id="2147505835" r:id="rId7"/>
    <p:sldLayoutId id="2147505836" r:id="rId8"/>
    <p:sldLayoutId id="2147505837" r:id="rId9"/>
    <p:sldLayoutId id="2147505838" r:id="rId10"/>
    <p:sldLayoutId id="2147505839" r:id="rId11"/>
    <p:sldLayoutId id="2147505840" r:id="rId12"/>
    <p:sldLayoutId id="2147505841" r:id="rId13"/>
    <p:sldLayoutId id="2147505842" r:id="rId14"/>
    <p:sldLayoutId id="2147505843" r:id="rId15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34" charset="-128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pitchFamily="34" charset="-128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pitchFamily="34" charset="-128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pitchFamily="34" charset="-128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34" charset="-128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00002F"/>
            </a:gs>
            <a:gs pos="50000">
              <a:srgbClr val="000066"/>
            </a:gs>
            <a:gs pos="100000">
              <a:srgbClr val="00002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0787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78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78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3C1F394B-DDE7-4398-BC78-822B7FC560F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5367" r:id="rId1"/>
    <p:sldLayoutId id="2147505368" r:id="rId2"/>
    <p:sldLayoutId id="2147505369" r:id="rId3"/>
    <p:sldLayoutId id="2147505370" r:id="rId4"/>
    <p:sldLayoutId id="2147505371" r:id="rId5"/>
    <p:sldLayoutId id="2147505372" r:id="rId6"/>
    <p:sldLayoutId id="2147505373" r:id="rId7"/>
    <p:sldLayoutId id="2147505374" r:id="rId8"/>
    <p:sldLayoutId id="2147505375" r:id="rId9"/>
    <p:sldLayoutId id="2147505376" r:id="rId10"/>
    <p:sldLayoutId id="2147505377" r:id="rId11"/>
    <p:sldLayoutId id="2147505378" r:id="rId12"/>
    <p:sldLayoutId id="2147505379" r:id="rId13"/>
    <p:sldLayoutId id="2147505380" r:id="rId14"/>
    <p:sldLayoutId id="2147505381" r:id="rId15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0000FF"/>
            </a:gs>
            <a:gs pos="100000">
              <a:schemeClr val="tx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600200"/>
            <a:ext cx="88392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8672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8672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8672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EFCAC034-11DC-47EF-862D-186ACEAAD47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pic>
        <p:nvPicPr>
          <p:cNvPr id="5127" name="Picture 7" descr="UofC Cres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3" y="6019800"/>
            <a:ext cx="585787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505382" r:id="rId1"/>
    <p:sldLayoutId id="2147505383" r:id="rId2"/>
    <p:sldLayoutId id="2147505384" r:id="rId3"/>
    <p:sldLayoutId id="2147505385" r:id="rId4"/>
    <p:sldLayoutId id="2147505386" r:id="rId5"/>
    <p:sldLayoutId id="2147505387" r:id="rId6"/>
    <p:sldLayoutId id="2147505388" r:id="rId7"/>
    <p:sldLayoutId id="2147505389" r:id="rId8"/>
    <p:sldLayoutId id="2147505390" r:id="rId9"/>
    <p:sldLayoutId id="2147505391" r:id="rId10"/>
    <p:sldLayoutId id="2147505392" r:id="rId11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FFFF66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FFFF66"/>
          </a:solidFill>
          <a:effectLst>
            <a:outerShdw blurRad="38100" dist="38100" dir="2700000" algn="tl">
              <a:srgbClr val="000000"/>
            </a:outerShdw>
          </a:effectLst>
          <a:latin typeface="Helvetic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FFFF66"/>
          </a:solidFill>
          <a:effectLst>
            <a:outerShdw blurRad="38100" dist="38100" dir="2700000" algn="tl">
              <a:srgbClr val="000000"/>
            </a:outerShdw>
          </a:effectLst>
          <a:latin typeface="Helvetic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FFFF66"/>
          </a:solidFill>
          <a:effectLst>
            <a:outerShdw blurRad="38100" dist="38100" dir="2700000" algn="tl">
              <a:srgbClr val="000000"/>
            </a:outerShdw>
          </a:effectLst>
          <a:latin typeface="Helvetic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FFFF66"/>
          </a:solidFill>
          <a:effectLst>
            <a:outerShdw blurRad="38100" dist="38100" dir="2700000" algn="tl">
              <a:srgbClr val="000000"/>
            </a:outerShdw>
          </a:effectLst>
          <a:latin typeface="Helvetic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000" b="1">
          <a:solidFill>
            <a:srgbClr val="FFFF66"/>
          </a:solidFill>
          <a:effectLst>
            <a:outerShdw blurRad="38100" dist="38100" dir="2700000" algn="tl">
              <a:srgbClr val="000000"/>
            </a:outerShdw>
          </a:effectLst>
          <a:latin typeface="Helvetic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000" b="1">
          <a:solidFill>
            <a:srgbClr val="FFFF66"/>
          </a:solidFill>
          <a:effectLst>
            <a:outerShdw blurRad="38100" dist="38100" dir="2700000" algn="tl">
              <a:srgbClr val="000000"/>
            </a:outerShdw>
          </a:effectLst>
          <a:latin typeface="Helvetic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000" b="1">
          <a:solidFill>
            <a:srgbClr val="FFFF66"/>
          </a:solidFill>
          <a:effectLst>
            <a:outerShdw blurRad="38100" dist="38100" dir="2700000" algn="tl">
              <a:srgbClr val="000000"/>
            </a:outerShdw>
          </a:effectLst>
          <a:latin typeface="Helvetic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000" b="1">
          <a:solidFill>
            <a:srgbClr val="FFFF66"/>
          </a:solidFill>
          <a:effectLst>
            <a:outerShdw blurRad="38100" dist="38100" dir="2700000" algn="tl">
              <a:srgbClr val="000000"/>
            </a:outerShdw>
          </a:effectLst>
          <a:latin typeface="Helvetic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66FFFF"/>
        </a:buClr>
        <a:buSzPct val="60000"/>
        <a:buFont typeface="Wingdings" panose="05000000000000000000" pitchFamily="2" charset="2"/>
        <a:buBlip>
          <a:blip r:embed="rId14"/>
        </a:buBlip>
        <a:defRPr sz="3200" b="1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rgbClr val="FFFF66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bg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rgbClr val="99FF66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rgbClr val="FF990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rgbClr val="FF990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rgbClr val="FF990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rgbClr val="FF990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rgbClr val="FF99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chemeClr val="tx1"/>
            </a:gs>
            <a:gs pos="100000">
              <a:srgbClr val="80000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6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3400" y="-76200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143000"/>
            <a:ext cx="82296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9696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srgbClr val="FFFF99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969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5486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2000" b="1">
                <a:solidFill>
                  <a:srgbClr val="66FFFF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969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6245225"/>
            <a:ext cx="228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C8110139-B586-42E2-AD47-06AF86C3994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pic>
        <p:nvPicPr>
          <p:cNvPr id="6151" name="Picture 7" descr="chica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096000"/>
            <a:ext cx="487363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505393" r:id="rId1"/>
    <p:sldLayoutId id="2147505394" r:id="rId2"/>
    <p:sldLayoutId id="2147505395" r:id="rId3"/>
    <p:sldLayoutId id="2147505396" r:id="rId4"/>
    <p:sldLayoutId id="2147505397" r:id="rId5"/>
    <p:sldLayoutId id="2147505398" r:id="rId6"/>
    <p:sldLayoutId id="2147505399" r:id="rId7"/>
    <p:sldLayoutId id="2147505400" r:id="rId8"/>
    <p:sldLayoutId id="2147505401" r:id="rId9"/>
    <p:sldLayoutId id="2147505402" r:id="rId10"/>
    <p:sldLayoutId id="2147505403" r:id="rId11"/>
  </p:sldLayoutIdLst>
  <p:transition/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FFF66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FFF66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FFF66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FFF66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FFF66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rgbClr val="FFFF66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rgbClr val="FFFF66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rgbClr val="FFFF66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rgbClr val="FFFF66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66FFFF"/>
        </a:buClr>
        <a:buSzPct val="60000"/>
        <a:buFont typeface="Wingdings" panose="05000000000000000000" pitchFamily="2" charset="2"/>
        <a:buBlip>
          <a:blip r:embed="rId14"/>
        </a:buBlip>
        <a:defRPr sz="28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FFFF66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bg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rgbClr val="99FF66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rgbClr val="FF990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rgbClr val="FF990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rgbClr val="FF990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rgbClr val="FF990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rgbClr val="FF99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181847"/>
            </a:gs>
            <a:gs pos="100000">
              <a:schemeClr val="accent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0755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755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755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827A6DE-9C34-412F-A2BD-6917CA641F7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5429" r:id="rId1"/>
    <p:sldLayoutId id="2147505430" r:id="rId2"/>
    <p:sldLayoutId id="2147505431" r:id="rId3"/>
    <p:sldLayoutId id="2147505432" r:id="rId4"/>
    <p:sldLayoutId id="2147505433" r:id="rId5"/>
    <p:sldLayoutId id="2147505434" r:id="rId6"/>
    <p:sldLayoutId id="2147505435" r:id="rId7"/>
    <p:sldLayoutId id="2147505436" r:id="rId8"/>
    <p:sldLayoutId id="2147505437" r:id="rId9"/>
    <p:sldLayoutId id="2147505438" r:id="rId10"/>
    <p:sldLayoutId id="2147505439" r:id="rId11"/>
    <p:sldLayoutId id="2147505440" r:id="rId12"/>
    <p:sldLayoutId id="2147505441" r:id="rId1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00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00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00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00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 b="1">
          <a:solidFill>
            <a:srgbClr val="FFFF00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 b="1">
          <a:solidFill>
            <a:srgbClr val="FFFF00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 b="1">
          <a:solidFill>
            <a:srgbClr val="FFFF00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 b="1">
          <a:solidFill>
            <a:srgbClr val="FFFF00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bg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bg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bg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bg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bg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bg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bg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181847"/>
            </a:gs>
            <a:gs pos="100000">
              <a:schemeClr val="accent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0755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755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755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E725636-FE69-44D6-B180-23C14E8F241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5442" r:id="rId1"/>
    <p:sldLayoutId id="2147505443" r:id="rId2"/>
    <p:sldLayoutId id="2147505444" r:id="rId3"/>
    <p:sldLayoutId id="2147505445" r:id="rId4"/>
    <p:sldLayoutId id="2147505446" r:id="rId5"/>
    <p:sldLayoutId id="2147505447" r:id="rId6"/>
    <p:sldLayoutId id="2147505448" r:id="rId7"/>
    <p:sldLayoutId id="2147505449" r:id="rId8"/>
    <p:sldLayoutId id="2147505450" r:id="rId9"/>
    <p:sldLayoutId id="2147505451" r:id="rId10"/>
    <p:sldLayoutId id="2147505452" r:id="rId11"/>
    <p:sldLayoutId id="2147505453" r:id="rId12"/>
    <p:sldLayoutId id="2147505454" r:id="rId1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00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00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00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00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 b="1">
          <a:solidFill>
            <a:srgbClr val="FFFF00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 b="1">
          <a:solidFill>
            <a:srgbClr val="FFFF00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 b="1">
          <a:solidFill>
            <a:srgbClr val="FFFF00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 b="1">
          <a:solidFill>
            <a:srgbClr val="FFFF00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bg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bg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bg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bg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bg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bg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bg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66516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560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1000" y="1412875"/>
            <a:ext cx="8382000" cy="2135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pic>
        <p:nvPicPr>
          <p:cNvPr id="25604" name="Picture 14" descr="bottombar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72250"/>
            <a:ext cx="914400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3" name="TextBox 6"/>
          <p:cNvSpPr txBox="1">
            <a:spLocks noChangeArrowheads="1"/>
          </p:cNvSpPr>
          <p:nvPr/>
        </p:nvSpPr>
        <p:spPr bwMode="auto">
          <a:xfrm>
            <a:off x="8610600" y="6553200"/>
            <a:ext cx="3667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fld id="{4403200B-7ECF-417D-8D99-CDE69423767C}" type="slidenum">
              <a:rPr lang="en-US" altLang="en-US" sz="1200" smtClean="0"/>
              <a:pPr>
                <a:defRPr/>
              </a:pPr>
              <a:t>‹#›</a:t>
            </a:fld>
            <a:endParaRPr lang="en-US" altLang="en-US" sz="1200" smtClean="0"/>
          </a:p>
        </p:txBody>
      </p:sp>
      <p:pic>
        <p:nvPicPr>
          <p:cNvPr id="25606" name="Picture 2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3800" y="6019800"/>
            <a:ext cx="1498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dk1" tx1="lt1" bg2="dk2" tx2="lt2" accent1="accent1" accent2="accent2" accent3="accent3" accent4="accent4" accent5="accent5" accent6="accent6" hlink="hlink" folHlink="folHlink"/>
  <p:sldLayoutIdLst>
    <p:sldLayoutId id="2147505489" r:id="rId1"/>
    <p:sldLayoutId id="2147505490" r:id="rId2"/>
    <p:sldLayoutId id="2147505701" r:id="rId3"/>
    <p:sldLayoutId id="2147505491" r:id="rId4"/>
    <p:sldLayoutId id="2147505492" r:id="rId5"/>
    <p:sldLayoutId id="2147505493" r:id="rId6"/>
    <p:sldLayoutId id="2147505494" r:id="rId7"/>
    <p:sldLayoutId id="2147505495" r:id="rId8"/>
    <p:sldLayoutId id="2147505496" r:id="rId9"/>
    <p:sldLayoutId id="2147505702" r:id="rId10"/>
    <p:sldLayoutId id="2147505703" r:id="rId11"/>
    <p:sldLayoutId id="2147505497" r:id="rId12"/>
    <p:sldLayoutId id="2147505498" r:id="rId13"/>
    <p:sldLayoutId id="2147505499" r:id="rId14"/>
    <p:sldLayoutId id="2147505704" r:id="rId15"/>
    <p:sldLayoutId id="2147505705" r:id="rId16"/>
    <p:sldLayoutId id="2147505706" r:id="rId17"/>
    <p:sldLayoutId id="2147505707" r:id="rId18"/>
    <p:sldLayoutId id="2147505708" r:id="rId19"/>
    <p:sldLayoutId id="2147505500" r:id="rId20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4800" kern="1200" spc="-150" dirty="0">
          <a:ln w="3175">
            <a:noFill/>
          </a:ln>
          <a:gradFill flip="none" rotWithShape="1">
            <a:gsLst>
              <a:gs pos="0">
                <a:srgbClr val="FFFFB9"/>
              </a:gs>
              <a:gs pos="36000">
                <a:srgbClr val="FFFF99"/>
              </a:gs>
              <a:gs pos="86000">
                <a:srgbClr val="F6AE1E"/>
              </a:gs>
            </a:gsLst>
            <a:lin ang="5400000" scaled="0"/>
            <a:tileRect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latin typeface="+mj-lt"/>
          <a:ea typeface="+mn-ea"/>
          <a:cs typeface="Arial" charset="0"/>
        </a:defRPr>
      </a:lvl1pPr>
      <a:lvl2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2pPr>
      <a:lvl3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3pPr>
      <a:lvl4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4pPr>
      <a:lvl5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9pPr>
    </p:titleStyle>
    <p:bodyStyle>
      <a:lvl1pPr marL="396875" indent="-3968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25"/>
        </a:buBlip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-3968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26"/>
        </a:buBlip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258888" indent="-344488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26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4963" indent="-3460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26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1941513" indent="-336550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26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9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6569075"/>
            <a:ext cx="9144000" cy="288925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0263" y="1768475"/>
            <a:ext cx="7485062" cy="352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35950" y="6556375"/>
            <a:ext cx="906463" cy="301625"/>
          </a:xfrm>
          <a:prstGeom prst="rect">
            <a:avLst/>
          </a:prstGeom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53633B9-BE01-4056-9D42-B5EDCE646CCF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  <p:pic>
        <p:nvPicPr>
          <p:cNvPr id="1029" name="Picture 12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02313"/>
            <a:ext cx="1689100" cy="827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53766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5764" r:id="rId1"/>
    <p:sldLayoutId id="2147505765" r:id="rId2"/>
    <p:sldLayoutId id="2147505766" r:id="rId3"/>
    <p:sldLayoutId id="2147505767" r:id="rId4"/>
    <p:sldLayoutId id="2147505768" r:id="rId5"/>
    <p:sldLayoutId id="2147505769" r:id="rId6"/>
    <p:sldLayoutId id="2147505770" r:id="rId7"/>
    <p:sldLayoutId id="2147505771" r:id="rId8"/>
    <p:sldLayoutId id="2147505773" r:id="rId9"/>
    <p:sldLayoutId id="2147505774" r:id="rId10"/>
    <p:sldLayoutId id="2147505775" r:id="rId11"/>
    <p:sldLayoutId id="2147505776" r:id="rId12"/>
    <p:sldLayoutId id="2147505721" r:id="rId13"/>
    <p:sldLayoutId id="2147505723" r:id="rId14"/>
    <p:sldLayoutId id="2147505724" r:id="rId15"/>
    <p:sldLayoutId id="2147505512" r:id="rId16"/>
    <p:sldLayoutId id="2147505725" r:id="rId17"/>
    <p:sldLayoutId id="2147505513" r:id="rId18"/>
    <p:sldLayoutId id="2147505514" r:id="rId19"/>
    <p:sldLayoutId id="2147505726" r:id="rId20"/>
    <p:sldLayoutId id="2147505727" r:id="rId21"/>
    <p:sldLayoutId id="2147505515" r:id="rId22"/>
    <p:sldLayoutId id="2147505728" r:id="rId23"/>
    <p:sldLayoutId id="2147505729" r:id="rId24"/>
    <p:sldLayoutId id="2147505730" r:id="rId25"/>
    <p:sldLayoutId id="2147505745" r:id="rId26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 kern="1200" spc="-60">
          <a:solidFill>
            <a:srgbClr val="800000"/>
          </a:solidFill>
          <a:latin typeface="Arial" charset="0"/>
          <a:ea typeface="Arial" charset="0"/>
          <a:cs typeface="Arial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9pPr>
    </p:titleStyle>
    <p:bodyStyle>
      <a:lvl1pPr marL="182563" indent="-182563" algn="l" rtl="0" eaLnBrk="1" fontAlgn="base" hangingPunct="1">
        <a:lnSpc>
          <a:spcPct val="90000"/>
        </a:lnSpc>
        <a:spcBef>
          <a:spcPts val="1200"/>
        </a:spcBef>
        <a:spcAft>
          <a:spcPct val="0"/>
        </a:spcAft>
        <a:buFont typeface="Wingdings" panose="05000000000000000000" pitchFamily="2" charset="2"/>
        <a:buChar char="§"/>
        <a:defRPr sz="32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1pPr>
      <a:lvl2pPr marL="685800" indent="-182563" algn="l" rtl="0" eaLnBrk="1" fontAlgn="base" hangingPunct="1">
        <a:lnSpc>
          <a:spcPct val="90000"/>
        </a:lnSpc>
        <a:spcBef>
          <a:spcPts val="250"/>
        </a:spcBef>
        <a:spcAft>
          <a:spcPts val="250"/>
        </a:spcAft>
        <a:buFont typeface="Wingdings" panose="05000000000000000000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2pPr>
      <a:lvl3pPr marL="1143000" indent="-182563" algn="l" rtl="0" eaLnBrk="1" fontAlgn="base" hangingPunct="1">
        <a:lnSpc>
          <a:spcPct val="90000"/>
        </a:lnSpc>
        <a:spcBef>
          <a:spcPts val="250"/>
        </a:spcBef>
        <a:spcAft>
          <a:spcPts val="250"/>
        </a:spcAft>
        <a:buFont typeface="Wingdings" panose="05000000000000000000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3pPr>
      <a:lvl4pPr marL="1600200" indent="-182563" algn="l" rtl="0" eaLnBrk="1" fontAlgn="base" hangingPunct="1">
        <a:lnSpc>
          <a:spcPct val="90000"/>
        </a:lnSpc>
        <a:spcBef>
          <a:spcPts val="250"/>
        </a:spcBef>
        <a:spcAft>
          <a:spcPts val="250"/>
        </a:spcAft>
        <a:buFont typeface="Wingdings" panose="05000000000000000000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4pPr>
      <a:lvl5pPr marL="2057400" indent="-182563" algn="l" rtl="0" eaLnBrk="1" fontAlgn="base" hangingPunct="1">
        <a:lnSpc>
          <a:spcPct val="90000"/>
        </a:lnSpc>
        <a:spcBef>
          <a:spcPts val="250"/>
        </a:spcBef>
        <a:spcAft>
          <a:spcPts val="250"/>
        </a:spcAft>
        <a:buFont typeface="Wingdings" panose="05000000000000000000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6569075"/>
            <a:ext cx="9144000" cy="288925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0263" y="1768475"/>
            <a:ext cx="7485062" cy="352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35950" y="6556375"/>
            <a:ext cx="906463" cy="301625"/>
          </a:xfrm>
          <a:prstGeom prst="rect">
            <a:avLst/>
          </a:prstGeom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53633B9-BE01-4056-9D42-B5EDCE646CCF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  <p:pic>
        <p:nvPicPr>
          <p:cNvPr id="1029" name="Picture 1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02313"/>
            <a:ext cx="1689100" cy="827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4551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5782" r:id="rId1"/>
    <p:sldLayoutId id="2147505783" r:id="rId2"/>
    <p:sldLayoutId id="2147505784" r:id="rId3"/>
    <p:sldLayoutId id="2147505785" r:id="rId4"/>
    <p:sldLayoutId id="2147505786" r:id="rId5"/>
    <p:sldLayoutId id="2147505787" r:id="rId6"/>
    <p:sldLayoutId id="2147505788" r:id="rId7"/>
    <p:sldLayoutId id="2147505789" r:id="rId8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 kern="1200" spc="-60">
          <a:solidFill>
            <a:srgbClr val="800000"/>
          </a:solidFill>
          <a:latin typeface="Arial" charset="0"/>
          <a:ea typeface="Arial" charset="0"/>
          <a:cs typeface="Arial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9pPr>
    </p:titleStyle>
    <p:bodyStyle>
      <a:lvl1pPr marL="182563" indent="-182563" algn="l" rtl="0" eaLnBrk="1" fontAlgn="base" hangingPunct="1">
        <a:lnSpc>
          <a:spcPct val="90000"/>
        </a:lnSpc>
        <a:spcBef>
          <a:spcPts val="1200"/>
        </a:spcBef>
        <a:spcAft>
          <a:spcPct val="0"/>
        </a:spcAft>
        <a:buFont typeface="Wingdings" panose="05000000000000000000" pitchFamily="2" charset="2"/>
        <a:buChar char="§"/>
        <a:defRPr sz="32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1pPr>
      <a:lvl2pPr marL="685800" indent="-182563" algn="l" rtl="0" eaLnBrk="1" fontAlgn="base" hangingPunct="1">
        <a:lnSpc>
          <a:spcPct val="90000"/>
        </a:lnSpc>
        <a:spcBef>
          <a:spcPts val="250"/>
        </a:spcBef>
        <a:spcAft>
          <a:spcPts val="250"/>
        </a:spcAft>
        <a:buFont typeface="Wingdings" panose="05000000000000000000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2pPr>
      <a:lvl3pPr marL="1143000" indent="-182563" algn="l" rtl="0" eaLnBrk="1" fontAlgn="base" hangingPunct="1">
        <a:lnSpc>
          <a:spcPct val="90000"/>
        </a:lnSpc>
        <a:spcBef>
          <a:spcPts val="250"/>
        </a:spcBef>
        <a:spcAft>
          <a:spcPts val="250"/>
        </a:spcAft>
        <a:buFont typeface="Wingdings" panose="05000000000000000000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3pPr>
      <a:lvl4pPr marL="1600200" indent="-182563" algn="l" rtl="0" eaLnBrk="1" fontAlgn="base" hangingPunct="1">
        <a:lnSpc>
          <a:spcPct val="90000"/>
        </a:lnSpc>
        <a:spcBef>
          <a:spcPts val="250"/>
        </a:spcBef>
        <a:spcAft>
          <a:spcPts val="250"/>
        </a:spcAft>
        <a:buFont typeface="Wingdings" panose="05000000000000000000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4pPr>
      <a:lvl5pPr marL="2057400" indent="-182563" algn="l" rtl="0" eaLnBrk="1" fontAlgn="base" hangingPunct="1">
        <a:lnSpc>
          <a:spcPct val="90000"/>
        </a:lnSpc>
        <a:spcBef>
          <a:spcPts val="250"/>
        </a:spcBef>
        <a:spcAft>
          <a:spcPts val="250"/>
        </a:spcAft>
        <a:buFont typeface="Wingdings" panose="05000000000000000000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3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m/url?sa=i&amp;rct=j&amp;q=&amp;esrc=s&amp;source=images&amp;cd=&amp;cad=rja&amp;uact=8&amp;ved=0ahUKEwim_4jA7sLMAhXHFT4KHVg6BrAQjRwIBw&amp;url=http://www.shorenewsnetwork.com/2015/12/todd-frazier-back-in-black-talks-about-trade-to-white-sox/&amp;psig=AFQjCNFVPSFbk7KGQKKIBjZGWMmB43rR0g&amp;ust=1462535232255698" TargetMode="External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6.png"/><Relationship Id="rId4" Type="http://schemas.openxmlformats.org/officeDocument/2006/relationships/image" Target="../media/image65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15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5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5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3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37.xml"/><Relationship Id="rId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3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7.xml"/><Relationship Id="rId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47.xml"/><Relationship Id="rId4" Type="http://schemas.openxmlformats.org/officeDocument/2006/relationships/image" Target="../media/image3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6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4000" b="1" smtClean="0">
                <a:solidFill>
                  <a:srgbClr val="FFFF00"/>
                </a:solidFill>
              </a:rPr>
              <a:t>Chicago</a:t>
            </a:r>
            <a:br>
              <a:rPr lang="en-US" altLang="en-US" sz="4000" b="1" smtClean="0">
                <a:solidFill>
                  <a:srgbClr val="FFFF00"/>
                </a:solidFill>
              </a:rPr>
            </a:br>
            <a:r>
              <a:rPr lang="en-US" altLang="en-US" sz="4000" b="1" smtClean="0">
                <a:solidFill>
                  <a:srgbClr val="FFFF00"/>
                </a:solidFill>
              </a:rPr>
              <a:t>“your kind of town”</a:t>
            </a:r>
          </a:p>
        </p:txBody>
      </p:sp>
      <p:pic>
        <p:nvPicPr>
          <p:cNvPr id="3696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1524000"/>
            <a:ext cx="6934200" cy="52006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51242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906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4000" b="1" smtClean="0">
                <a:solidFill>
                  <a:srgbClr val="FFFF00"/>
                </a:solidFill>
              </a:rPr>
              <a:t>Field Museum of Natural history</a:t>
            </a:r>
            <a:br>
              <a:rPr lang="en-US" altLang="en-US" sz="4000" b="1" smtClean="0">
                <a:solidFill>
                  <a:srgbClr val="FFFF00"/>
                </a:solidFill>
              </a:rPr>
            </a:br>
            <a:r>
              <a:rPr lang="en-US" altLang="en-US" sz="4000" b="1" smtClean="0">
                <a:solidFill>
                  <a:srgbClr val="FFFF00"/>
                </a:solidFill>
              </a:rPr>
              <a:t>“Sue”</a:t>
            </a:r>
          </a:p>
        </p:txBody>
      </p:sp>
      <p:pic>
        <p:nvPicPr>
          <p:cNvPr id="37990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1752600"/>
            <a:ext cx="6867525" cy="4949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90034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930" name="Rectangle 2"/>
          <p:cNvSpPr>
            <a:spLocks noGrp="1" noChangeArrowheads="1"/>
          </p:cNvSpPr>
          <p:nvPr>
            <p:ph type="title" sz="quarter"/>
          </p:nvPr>
        </p:nvSpPr>
        <p:spPr>
          <a:xfrm>
            <a:off x="304800" y="0"/>
            <a:ext cx="8229600" cy="1143000"/>
          </a:xfrm>
        </p:spPr>
        <p:txBody>
          <a:bodyPr/>
          <a:lstStyle/>
          <a:p>
            <a:pPr eaLnBrk="1" hangingPunct="1"/>
            <a:r>
              <a:rPr lang="en-US" altLang="en-US" b="1" smtClean="0">
                <a:solidFill>
                  <a:srgbClr val="FFFF00"/>
                </a:solidFill>
              </a:rPr>
              <a:t>Grant Park</a:t>
            </a:r>
          </a:p>
        </p:txBody>
      </p:sp>
      <p:pic>
        <p:nvPicPr>
          <p:cNvPr id="38093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1462088"/>
            <a:ext cx="6934200" cy="495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92982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954" name="Rectangle 2"/>
          <p:cNvSpPr>
            <a:spLocks noGrp="1" noChangeArrowheads="1"/>
          </p:cNvSpPr>
          <p:nvPr>
            <p:ph type="title" sz="quarter"/>
          </p:nvPr>
        </p:nvSpPr>
        <p:spPr>
          <a:xfrm>
            <a:off x="304800" y="0"/>
            <a:ext cx="8229600" cy="1143000"/>
          </a:xfrm>
        </p:spPr>
        <p:txBody>
          <a:bodyPr/>
          <a:lstStyle/>
          <a:p>
            <a:pPr eaLnBrk="1" hangingPunct="1"/>
            <a:r>
              <a:rPr lang="en-US" altLang="en-US" b="1" smtClean="0">
                <a:solidFill>
                  <a:srgbClr val="FFFF00"/>
                </a:solidFill>
              </a:rPr>
              <a:t>Grant Park</a:t>
            </a:r>
          </a:p>
        </p:txBody>
      </p:sp>
      <p:pic>
        <p:nvPicPr>
          <p:cNvPr id="38195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995363"/>
            <a:ext cx="4114800" cy="273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195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8200" y="995363"/>
            <a:ext cx="4114800" cy="274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1957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400" y="3836988"/>
            <a:ext cx="4724400" cy="299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6030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2979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1696" y="235743"/>
            <a:ext cx="4211638" cy="2474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" y="3200400"/>
            <a:ext cx="5400675" cy="30387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0" y="235743"/>
            <a:ext cx="4572000" cy="240729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24600" y="3048000"/>
            <a:ext cx="2400480" cy="360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165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002" name="Rectangle 2"/>
          <p:cNvSpPr>
            <a:spLocks noGrp="1" noChangeArrowheads="1"/>
          </p:cNvSpPr>
          <p:nvPr>
            <p:ph type="title" sz="quarter"/>
          </p:nvPr>
        </p:nvSpPr>
        <p:spPr>
          <a:xfrm>
            <a:off x="381000" y="0"/>
            <a:ext cx="8229600" cy="1143000"/>
          </a:xfrm>
        </p:spPr>
        <p:txBody>
          <a:bodyPr/>
          <a:lstStyle/>
          <a:p>
            <a:pPr eaLnBrk="1" hangingPunct="1"/>
            <a:r>
              <a:rPr lang="en-US" altLang="en-US" b="1" smtClean="0">
                <a:solidFill>
                  <a:srgbClr val="FFFF00"/>
                </a:solidFill>
              </a:rPr>
              <a:t>Millennium Park</a:t>
            </a:r>
          </a:p>
        </p:txBody>
      </p:sp>
      <p:pic>
        <p:nvPicPr>
          <p:cNvPr id="384003" name="Picture 3" descr="Mil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09600" y="1143000"/>
            <a:ext cx="3822700" cy="2605088"/>
          </a:xfrm>
          <a:noFill/>
          <a:ln w="285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84004" name="Picture 4" descr="Mil Pk"/>
          <p:cNvPicPr>
            <a:picLocks noGrp="1" noChangeAspect="1" noChangeArrowheads="1"/>
          </p:cNvPicPr>
          <p:nvPr>
            <p:ph sz="quarter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724400" y="1143000"/>
            <a:ext cx="3798888" cy="2605088"/>
          </a:xfrm>
          <a:noFill/>
          <a:ln w="285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84005" name="Picture 5" descr="Mil"/>
          <p:cNvPicPr>
            <a:picLocks noGrp="1" noChangeAspect="1" noChangeArrowheads="1"/>
          </p:cNvPicPr>
          <p:nvPr>
            <p:ph sz="quarter" idx="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8"/>
          <a:stretch>
            <a:fillRect/>
          </a:stretch>
        </p:blipFill>
        <p:spPr>
          <a:xfrm>
            <a:off x="609600" y="3962400"/>
            <a:ext cx="3805238" cy="2605088"/>
          </a:xfrm>
          <a:noFill/>
          <a:ln w="285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84006" name="Picture 6" descr="Mil"/>
          <p:cNvPicPr>
            <a:picLocks noGrp="1" noChangeAspect="1" noChangeArrowheads="1"/>
          </p:cNvPicPr>
          <p:nvPr>
            <p:ph sz="quarter" idx="4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724400" y="3962400"/>
            <a:ext cx="3733800" cy="2641600"/>
          </a:xfrm>
          <a:noFill/>
          <a:ln w="285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62339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026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0"/>
            <a:ext cx="7646988" cy="1143000"/>
          </a:xfrm>
        </p:spPr>
        <p:txBody>
          <a:bodyPr/>
          <a:lstStyle/>
          <a:p>
            <a:r>
              <a:rPr lang="en-US" altLang="en-US" smtClean="0">
                <a:solidFill>
                  <a:schemeClr val="bg1"/>
                </a:solidFill>
              </a:rPr>
              <a:t>North Michigan Ave.</a:t>
            </a:r>
          </a:p>
        </p:txBody>
      </p:sp>
      <p:pic>
        <p:nvPicPr>
          <p:cNvPr id="385027" name="Picture 3" descr="North Mich Ave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52600" y="1371600"/>
            <a:ext cx="1630363" cy="2590800"/>
          </a:xfrm>
          <a:noFill/>
          <a:ln w="285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85028" name="Picture 4" descr="North Mich Ave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257800" y="4343400"/>
            <a:ext cx="3035300" cy="1981200"/>
          </a:xfrm>
          <a:noFill/>
          <a:ln w="285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85029" name="Picture 5" descr="Twilight Skyline from Hancock Bld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58"/>
          <a:stretch>
            <a:fillRect/>
          </a:stretch>
        </p:blipFill>
        <p:spPr>
          <a:xfrm>
            <a:off x="762000" y="4267200"/>
            <a:ext cx="3886200" cy="2438400"/>
          </a:xfrm>
          <a:noFill/>
          <a:ln w="285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85030" name="Picture 6" descr="North Mich Ave"/>
          <p:cNvPicPr>
            <a:picLocks noGrp="1" noChangeAspect="1" noChangeArrowheads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48200" y="1371600"/>
            <a:ext cx="3548063" cy="2536825"/>
          </a:xfrm>
          <a:noFill/>
          <a:ln w="285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23016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050" name="Text Box 2"/>
          <p:cNvSpPr txBox="1">
            <a:spLocks noChangeArrowheads="1"/>
          </p:cNvSpPr>
          <p:nvPr/>
        </p:nvSpPr>
        <p:spPr bwMode="auto">
          <a:xfrm>
            <a:off x="2819400" y="239713"/>
            <a:ext cx="3717925" cy="708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ake Michigan</a:t>
            </a:r>
          </a:p>
        </p:txBody>
      </p:sp>
      <p:pic>
        <p:nvPicPr>
          <p:cNvPr id="386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295400"/>
            <a:ext cx="4229100" cy="26431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6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400" y="1219200"/>
            <a:ext cx="3733800" cy="28003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605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4343400"/>
            <a:ext cx="4762500" cy="21621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6054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0" y="4191000"/>
            <a:ext cx="3448050" cy="2565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24557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074" name="Text Box 4"/>
          <p:cNvSpPr txBox="1">
            <a:spLocks noChangeArrowheads="1"/>
          </p:cNvSpPr>
          <p:nvPr/>
        </p:nvSpPr>
        <p:spPr bwMode="auto">
          <a:xfrm>
            <a:off x="925513" y="257175"/>
            <a:ext cx="7400925" cy="76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Take Me Out to the Ballgame</a:t>
            </a:r>
          </a:p>
        </p:txBody>
      </p:sp>
      <p:pic>
        <p:nvPicPr>
          <p:cNvPr id="387075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4419600"/>
            <a:ext cx="4927600" cy="205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7076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160463"/>
            <a:ext cx="4683125" cy="312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7077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1282700"/>
            <a:ext cx="3643313" cy="470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1302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809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3038" y="190500"/>
            <a:ext cx="3571875" cy="3543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8099" name="Picture 8" descr="http://www.shorenewsnetwork.com/wp-content/uploads/2015/12/frazier-stadium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533400"/>
            <a:ext cx="4514850" cy="300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8100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5938" y="3559175"/>
            <a:ext cx="4114800" cy="3265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3056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22" name="Picture 1" descr="19781093view0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250" y="1681163"/>
            <a:ext cx="4381500" cy="349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72466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690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304800"/>
            <a:ext cx="8763000" cy="914400"/>
          </a:xfrm>
        </p:spPr>
        <p:txBody>
          <a:bodyPr/>
          <a:lstStyle/>
          <a:p>
            <a:pPr eaLnBrk="1" hangingPunct="1"/>
            <a:r>
              <a:rPr lang="en-US" altLang="en-US" sz="4000" b="1" smtClean="0">
                <a:solidFill>
                  <a:srgbClr val="FFFF00"/>
                </a:solidFill>
              </a:rPr>
              <a:t>Museum of Science and Industry</a:t>
            </a:r>
          </a:p>
        </p:txBody>
      </p:sp>
      <p:pic>
        <p:nvPicPr>
          <p:cNvPr id="37069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1371600"/>
            <a:ext cx="7010400" cy="5257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44776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0146" name="Group 7"/>
          <p:cNvGrpSpPr>
            <a:grpSpLocks/>
          </p:cNvGrpSpPr>
          <p:nvPr/>
        </p:nvGrpSpPr>
        <p:grpSpPr bwMode="auto">
          <a:xfrm>
            <a:off x="755650" y="800100"/>
            <a:ext cx="7632700" cy="5143500"/>
            <a:chOff x="755650" y="609600"/>
            <a:chExt cx="7632700" cy="5143500"/>
          </a:xfrm>
        </p:grpSpPr>
        <p:pic>
          <p:nvPicPr>
            <p:cNvPr id="390147" name="Picture 4" descr="Fans flocked to see UC v Wisconsin in 1904; Chicago beat Michigan to win national championship in 1905.tiff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5650" y="609600"/>
              <a:ext cx="7632700" cy="5143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0148" name="Picture 6" descr="19031126.jp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4700" y="4749800"/>
              <a:ext cx="2895600" cy="976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>
                      <a:alpha val="70979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528399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70" name="TextBox 10"/>
          <p:cNvSpPr txBox="1">
            <a:spLocks noChangeArrowheads="1"/>
          </p:cNvSpPr>
          <p:nvPr/>
        </p:nvSpPr>
        <p:spPr bwMode="auto">
          <a:xfrm>
            <a:off x="323850" y="6015038"/>
            <a:ext cx="86995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" panose="02020603050405020304" pitchFamily="18" charset="0"/>
                <a:ea typeface="ＭＳ Ｐゴシック" panose="020B0600070205080204" pitchFamily="34" charset="-128"/>
                <a:cs typeface="+mn-cs"/>
              </a:rPr>
              <a:t>John Jacob “Jay” Berwanger, the first Heisman trophy winner (1935)</a:t>
            </a:r>
          </a:p>
        </p:txBody>
      </p:sp>
      <p:pic>
        <p:nvPicPr>
          <p:cNvPr id="391171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0175" y="200025"/>
            <a:ext cx="6343650" cy="645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6604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304800"/>
            <a:ext cx="9151938" cy="6553200"/>
          </a:xfrm>
          <a:prstGeom prst="rect">
            <a:avLst/>
          </a:prstGeom>
          <a:gradFill flip="none" rotWithShape="1">
            <a:gsLst>
              <a:gs pos="0">
                <a:srgbClr val="780019"/>
              </a:gs>
              <a:gs pos="100000">
                <a:srgbClr val="32000A"/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9151938" cy="46037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100000">
                <a:schemeClr val="tx1">
                  <a:lumMod val="85000"/>
                  <a:lumOff val="15000"/>
                </a:schemeClr>
              </a:gs>
            </a:gsLst>
            <a:lin ang="0" scaled="1"/>
            <a:tileRect/>
          </a:gra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5946775"/>
            <a:ext cx="9151938" cy="9144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100000">
                <a:schemeClr val="tx1">
                  <a:lumMod val="85000"/>
                  <a:lumOff val="15000"/>
                </a:schemeClr>
              </a:gs>
            </a:gsLst>
            <a:lin ang="0" scaled="1"/>
            <a:tileRect/>
          </a:gra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92197" name="Picture 1" descr="IMG_0043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700"/>
            <a:ext cx="9144000" cy="682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0727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242" name="Rectangle 2"/>
          <p:cNvSpPr>
            <a:spLocks noGrp="1" noChangeArrowheads="1"/>
          </p:cNvSpPr>
          <p:nvPr>
            <p:ph type="title"/>
          </p:nvPr>
        </p:nvSpPr>
        <p:spPr>
          <a:extLst>
            <a:ext uri="{91240B29-F687-4F45-9708-019B960494DF}">
              <a14:hiddenLine xmlns:a14="http://schemas.microsoft.com/office/drawing/2010/main" w="9525">
                <a:solidFill>
                  <a:srgbClr val="FF33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sz="4000" b="1" smtClean="0">
                <a:solidFill>
                  <a:srgbClr val="FFFF00"/>
                </a:solidFill>
                <a:latin typeface="Arial" panose="020B0604020202020204" pitchFamily="34" charset="0"/>
              </a:rPr>
              <a:t>Chicago Tribune</a:t>
            </a:r>
            <a:br>
              <a:rPr lang="en-US" altLang="en-US" sz="4000" b="1" smtClean="0">
                <a:solidFill>
                  <a:srgbClr val="FFFF00"/>
                </a:solidFill>
                <a:latin typeface="Arial" panose="020B0604020202020204" pitchFamily="34" charset="0"/>
              </a:rPr>
            </a:br>
            <a:r>
              <a:rPr lang="en-US" altLang="en-US" sz="4000" b="1" u="sng" smtClean="0">
                <a:solidFill>
                  <a:srgbClr val="FFFF00"/>
                </a:solidFill>
                <a:latin typeface="Arial" panose="020B0604020202020204" pitchFamily="34" charset="0"/>
              </a:rPr>
              <a:t>“Seven Wonders of Chicago”</a:t>
            </a:r>
          </a:p>
        </p:txBody>
      </p:sp>
      <p:sp>
        <p:nvSpPr>
          <p:cNvPr id="3942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 b="1" smtClean="0">
                <a:solidFill>
                  <a:schemeClr val="bg1"/>
                </a:solidFill>
                <a:latin typeface="Arial" panose="020B0604020202020204" pitchFamily="34" charset="0"/>
              </a:rPr>
              <a:t>The Lakefront</a:t>
            </a:r>
          </a:p>
          <a:p>
            <a:r>
              <a:rPr lang="en-US" altLang="en-US" b="1" smtClean="0">
                <a:solidFill>
                  <a:schemeClr val="bg1"/>
                </a:solidFill>
                <a:latin typeface="Arial" panose="020B0604020202020204" pitchFamily="34" charset="0"/>
              </a:rPr>
              <a:t>Wrigley Field</a:t>
            </a:r>
          </a:p>
          <a:p>
            <a:r>
              <a:rPr lang="en-US" altLang="en-US" b="1" smtClean="0">
                <a:solidFill>
                  <a:schemeClr val="bg1"/>
                </a:solidFill>
                <a:latin typeface="Arial" panose="020B0604020202020204" pitchFamily="34" charset="0"/>
              </a:rPr>
              <a:t>The “L”</a:t>
            </a:r>
          </a:p>
          <a:p>
            <a:r>
              <a:rPr lang="en-US" altLang="en-US" b="1" smtClean="0">
                <a:solidFill>
                  <a:schemeClr val="bg1"/>
                </a:solidFill>
                <a:latin typeface="Arial" panose="020B0604020202020204" pitchFamily="34" charset="0"/>
              </a:rPr>
              <a:t>Sears Tower</a:t>
            </a:r>
          </a:p>
          <a:p>
            <a:r>
              <a:rPr lang="en-US" altLang="en-US" b="1" smtClean="0">
                <a:solidFill>
                  <a:schemeClr val="bg1"/>
                </a:solidFill>
                <a:latin typeface="Arial" panose="020B0604020202020204" pitchFamily="34" charset="0"/>
              </a:rPr>
              <a:t>Water Tower</a:t>
            </a:r>
          </a:p>
          <a:p>
            <a:r>
              <a:rPr lang="en-US" altLang="en-US" b="1" smtClean="0">
                <a:solidFill>
                  <a:srgbClr val="FFFF00"/>
                </a:solidFill>
                <a:latin typeface="Arial" panose="020B0604020202020204" pitchFamily="34" charset="0"/>
              </a:rPr>
              <a:t>University of Chicago</a:t>
            </a:r>
          </a:p>
          <a:p>
            <a:r>
              <a:rPr lang="en-US" altLang="en-US" b="1" smtClean="0">
                <a:solidFill>
                  <a:schemeClr val="bg1"/>
                </a:solidFill>
                <a:latin typeface="Arial" panose="020B0604020202020204" pitchFamily="34" charset="0"/>
              </a:rPr>
              <a:t>Museum of Science and Industry</a:t>
            </a:r>
          </a:p>
          <a:p>
            <a:endParaRPr lang="en-US" altLang="en-US" b="1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363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1714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2300" y="155575"/>
            <a:ext cx="2508250" cy="141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1718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206500"/>
            <a:ext cx="4038600" cy="302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8200" y="1659731"/>
            <a:ext cx="4002079" cy="222885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30625" y="3985394"/>
            <a:ext cx="3886200" cy="271730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5854" y="4357166"/>
            <a:ext cx="4169833" cy="234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757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2738" name="Picture 5" descr="chica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600" y="1905000"/>
            <a:ext cx="4953000" cy="3290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2739" name="Text Box 6"/>
          <p:cNvSpPr txBox="1">
            <a:spLocks noChangeArrowheads="1"/>
          </p:cNvSpPr>
          <p:nvPr/>
        </p:nvSpPr>
        <p:spPr bwMode="auto">
          <a:xfrm>
            <a:off x="2286000" y="609600"/>
            <a:ext cx="4724400" cy="923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4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nited Center</a:t>
            </a:r>
          </a:p>
        </p:txBody>
      </p:sp>
    </p:spTree>
    <p:extLst>
      <p:ext uri="{BB962C8B-B14F-4D97-AF65-F5344CB8AC3E}">
        <p14:creationId xmlns:p14="http://schemas.microsoft.com/office/powerpoint/2010/main" val="67575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0613" name="Picture 5" descr="michael_jordan124289234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2514600"/>
            <a:ext cx="3230563" cy="403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3763" name="Picture 9" descr="tumblr_l4oxvizyrq1qzb7vj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600" y="152400"/>
            <a:ext cx="3371850" cy="224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5327" y="2962275"/>
            <a:ext cx="3966246" cy="3143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305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06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806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806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5810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1335088"/>
            <a:ext cx="4471988" cy="252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5811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800" y="3856038"/>
            <a:ext cx="4448175" cy="296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895600" y="304800"/>
            <a:ext cx="3402013" cy="7080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icago SKY</a:t>
            </a:r>
          </a:p>
        </p:txBody>
      </p:sp>
    </p:spTree>
    <p:extLst>
      <p:ext uri="{BB962C8B-B14F-4D97-AF65-F5344CB8AC3E}">
        <p14:creationId xmlns:p14="http://schemas.microsoft.com/office/powerpoint/2010/main" val="613887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683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4278313"/>
            <a:ext cx="3976688" cy="223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6835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3968750"/>
            <a:ext cx="4724400" cy="265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6836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3375" y="152400"/>
            <a:ext cx="4002088" cy="3624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2226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858" name="Rectangle 2"/>
          <p:cNvSpPr>
            <a:spLocks noGrp="1" noChangeArrowheads="1"/>
          </p:cNvSpPr>
          <p:nvPr>
            <p:ph type="title"/>
          </p:nvPr>
        </p:nvSpPr>
        <p:spPr>
          <a:xfrm>
            <a:off x="1066800" y="228600"/>
            <a:ext cx="6732588" cy="1143000"/>
          </a:xfrm>
        </p:spPr>
        <p:txBody>
          <a:bodyPr/>
          <a:lstStyle/>
          <a:p>
            <a:pPr eaLnBrk="1" hangingPunct="1"/>
            <a:r>
              <a:rPr lang="en-US" altLang="en-US" b="1" smtClean="0">
                <a:solidFill>
                  <a:srgbClr val="FFFF00"/>
                </a:solidFill>
              </a:rPr>
              <a:t>Art Institute</a:t>
            </a:r>
          </a:p>
        </p:txBody>
      </p:sp>
      <p:pic>
        <p:nvPicPr>
          <p:cNvPr id="377859" name="Picture 3" descr="Art Institute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3400" y="1371600"/>
            <a:ext cx="4548188" cy="3433763"/>
          </a:xfrm>
          <a:noFill/>
          <a:ln w="285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77860" name="Picture 4" descr="2674681765_37798d11f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0" y="3606800"/>
            <a:ext cx="4610100" cy="3079750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6213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82" name="Rectangle 2"/>
          <p:cNvSpPr>
            <a:spLocks noGrp="1" noChangeArrowheads="1"/>
          </p:cNvSpPr>
          <p:nvPr>
            <p:ph type="title"/>
          </p:nvPr>
        </p:nvSpPr>
        <p:spPr>
          <a:xfrm>
            <a:off x="1143000" y="0"/>
            <a:ext cx="6983413" cy="1143000"/>
          </a:xfrm>
        </p:spPr>
        <p:txBody>
          <a:bodyPr/>
          <a:lstStyle/>
          <a:p>
            <a:pPr eaLnBrk="1" hangingPunct="1"/>
            <a:r>
              <a:rPr lang="en-US" altLang="en-US" sz="4000" b="1" smtClean="0">
                <a:solidFill>
                  <a:srgbClr val="FFFF00"/>
                </a:solidFill>
              </a:rPr>
              <a:t>Museum Campus</a:t>
            </a:r>
          </a:p>
        </p:txBody>
      </p:sp>
      <p:pic>
        <p:nvPicPr>
          <p:cNvPr id="378883" name="Picture 3" descr="Adler Planetarium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38200" y="1295400"/>
            <a:ext cx="2897188" cy="4343400"/>
          </a:xfrm>
          <a:noFill/>
          <a:ln w="285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78884" name="Picture 4" descr="Shedd Aqu"/>
          <p:cNvPicPr>
            <a:picLocks noGrp="1" noChangeAspect="1" noChangeArrowheads="1"/>
          </p:cNvPicPr>
          <p:nvPr>
            <p:ph sz="quarter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48200" y="1219200"/>
            <a:ext cx="3429000" cy="2244725"/>
          </a:xfrm>
          <a:noFill/>
          <a:ln w="285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78885" name="Picture 5" descr="Field Museum"/>
          <p:cNvPicPr>
            <a:picLocks noGrp="1" noChangeAspect="1" noChangeArrowheads="1"/>
          </p:cNvPicPr>
          <p:nvPr>
            <p:ph sz="quarter" idx="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800600" y="4114800"/>
            <a:ext cx="3124200" cy="1981200"/>
          </a:xfrm>
          <a:noFill/>
          <a:ln w="285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78886" name="Text Box 6"/>
          <p:cNvSpPr txBox="1">
            <a:spLocks noChangeArrowheads="1"/>
          </p:cNvSpPr>
          <p:nvPr/>
        </p:nvSpPr>
        <p:spPr bwMode="auto">
          <a:xfrm>
            <a:off x="3810000" y="6096000"/>
            <a:ext cx="184150" cy="369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+mn-cs"/>
            </a:endParaRPr>
          </a:p>
        </p:txBody>
      </p:sp>
      <p:sp>
        <p:nvSpPr>
          <p:cNvPr id="378887" name="Text Box 7"/>
          <p:cNvSpPr txBox="1">
            <a:spLocks noChangeArrowheads="1"/>
          </p:cNvSpPr>
          <p:nvPr/>
        </p:nvSpPr>
        <p:spPr bwMode="auto">
          <a:xfrm rot="10800000" flipV="1">
            <a:off x="1066800" y="5865813"/>
            <a:ext cx="22098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dler Planetarium</a:t>
            </a:r>
          </a:p>
        </p:txBody>
      </p:sp>
      <p:sp>
        <p:nvSpPr>
          <p:cNvPr id="378888" name="Text Box 8"/>
          <p:cNvSpPr txBox="1">
            <a:spLocks noChangeArrowheads="1"/>
          </p:cNvSpPr>
          <p:nvPr/>
        </p:nvSpPr>
        <p:spPr bwMode="auto">
          <a:xfrm>
            <a:off x="4953000" y="3505200"/>
            <a:ext cx="32004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ohn G. Shedd Aquarium</a:t>
            </a:r>
          </a:p>
        </p:txBody>
      </p:sp>
      <p:sp>
        <p:nvSpPr>
          <p:cNvPr id="378889" name="Text Box 9"/>
          <p:cNvSpPr txBox="1">
            <a:spLocks noChangeArrowheads="1"/>
          </p:cNvSpPr>
          <p:nvPr/>
        </p:nvSpPr>
        <p:spPr bwMode="auto">
          <a:xfrm>
            <a:off x="4495800" y="6248400"/>
            <a:ext cx="38100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eld Museum of Natural History</a:t>
            </a:r>
          </a:p>
        </p:txBody>
      </p:sp>
    </p:spTree>
    <p:extLst>
      <p:ext uri="{BB962C8B-B14F-4D97-AF65-F5344CB8AC3E}">
        <p14:creationId xmlns:p14="http://schemas.microsoft.com/office/powerpoint/2010/main" val="3622398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9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rgbClr val="FF33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_Basic Presentation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Default Design">
  <a:themeElements>
    <a:clrScheme name="4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4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VNPTemplate1">
  <a:themeElements>
    <a:clrScheme name="VNPTemplate1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NPTemplate1">
      <a:majorFont>
        <a:latin typeface="Helvetic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VNPTemplat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NPTemplate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NPTemplate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NPTemplate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NPTemplate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NPTemplate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NPTemplate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NPTemplate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NPTemplate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NPTemplate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NPTemplate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NPTemplate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paroscopic Cystogastrostomy for Pancreatic Pseudocyst">
  <a:themeElements>
    <a:clrScheme name="Laparoscopic Cystogastrostomy for Pancreatic Pseudocys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paroscopic Cystogastrostomy for Pancreatic Pseudocyst">
      <a:majorFont>
        <a:latin typeface="Garamond"/>
        <a:ea typeface=""/>
        <a:cs typeface=""/>
      </a:majorFont>
      <a:minorFont>
        <a:latin typeface="Garamon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Laparoscopic Cystogastrostomy for Pancreatic Pseudocy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paroscopic Cystogastrostomy for Pancreatic Pseudocy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paroscopic Cystogastrostomy for Pancreatic Pseudocy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paroscopic Cystogastrostomy for Pancreatic Pseudocy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paroscopic Cystogastrostomy for Pancreatic Pseudocy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paroscopic Cystogastrostomy for Pancreatic Pseudocy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paroscopic Cystogastrostomy for Pancreatic Pseudocy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paroscopic Cystogastrostomy for Pancreatic Pseudocy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paroscopic Cystogastrostomy for Pancreatic Pseudocy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paroscopic Cystogastrostomy for Pancreatic Pseudocy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paroscopic Cystogastrostomy for Pancreatic Pseudocy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paroscopic Cystogastrostomy for Pancreatic Pseudocy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5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aramond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aramond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7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aramond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aramond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Ppt0000000">
  <a:themeElements>
    <a:clrScheme name="Oriel">
      <a:dk1>
        <a:sysClr val="windowText" lastClr="000000"/>
      </a:dk1>
      <a:lt1>
        <a:sysClr val="window" lastClr="FFFFFF"/>
      </a:lt1>
      <a:dk2>
        <a:srgbClr val="575F6D"/>
      </a:dk2>
      <a:lt2>
        <a:srgbClr val="FFF39D"/>
      </a:lt2>
      <a:accent1>
        <a:srgbClr val="FE8637"/>
      </a:accent1>
      <a:accent2>
        <a:srgbClr val="7598D9"/>
      </a:accent2>
      <a:accent3>
        <a:srgbClr val="B32C16"/>
      </a:accent3>
      <a:accent4>
        <a:srgbClr val="F5CD2D"/>
      </a:accent4>
      <a:accent5>
        <a:srgbClr val="AEBAD5"/>
      </a:accent5>
      <a:accent6>
        <a:srgbClr val="777C84"/>
      </a:accent6>
      <a:hlink>
        <a:srgbClr val="D2611C"/>
      </a:hlink>
      <a:folHlink>
        <a:srgbClr val="3B435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 fontAlgn="base">
          <a:spcBef>
            <a:spcPct val="0"/>
          </a:spcBef>
          <a:spcAft>
            <a:spcPct val="0"/>
          </a:spcAft>
          <a:defRPr sz="2300" dirty="0" smtClean="0"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rebuchet MS" pitchFamily="34" charset="0"/>
          </a:defRPr>
        </a:defPPr>
      </a:lstStyle>
      <a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UofC3">
  <a:themeElements>
    <a:clrScheme name="UCM_colors">
      <a:dk1>
        <a:srgbClr val="400000"/>
      </a:dk1>
      <a:lt1>
        <a:srgbClr val="D6D6D0"/>
      </a:lt1>
      <a:dk2>
        <a:srgbClr val="FFFFFF"/>
      </a:dk2>
      <a:lt2>
        <a:srgbClr val="FFFFFF"/>
      </a:lt2>
      <a:accent1>
        <a:srgbClr val="767676"/>
      </a:accent1>
      <a:accent2>
        <a:srgbClr val="F8A429"/>
      </a:accent2>
      <a:accent3>
        <a:srgbClr val="155F83"/>
      </a:accent3>
      <a:accent4>
        <a:srgbClr val="CFE6F0"/>
      </a:accent4>
      <a:accent5>
        <a:srgbClr val="BA7B76"/>
      </a:accent5>
      <a:accent6>
        <a:srgbClr val="91AB5A"/>
      </a:accent6>
      <a:hlink>
        <a:srgbClr val="5B96AD"/>
      </a:hlink>
      <a:folHlink>
        <a:srgbClr val="725663"/>
      </a:folHlink>
    </a:clrScheme>
    <a:fontScheme name="UChicago Medicin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ofC3" id="{BCBD097C-E3DE-4987-BA22-20515618B7D1}" vid="{C42BCB6E-A36C-44A3-BF88-AB0BF3BFE0F7}"/>
    </a:ext>
  </a:extLst>
</a:theme>
</file>

<file path=ppt/theme/theme9.xml><?xml version="1.0" encoding="utf-8"?>
<a:theme xmlns:a="http://schemas.openxmlformats.org/drawingml/2006/main" name="1_UofC3">
  <a:themeElements>
    <a:clrScheme name="UCM_colors">
      <a:dk1>
        <a:srgbClr val="400000"/>
      </a:dk1>
      <a:lt1>
        <a:srgbClr val="D6D6D0"/>
      </a:lt1>
      <a:dk2>
        <a:srgbClr val="FFFFFF"/>
      </a:dk2>
      <a:lt2>
        <a:srgbClr val="FFFFFF"/>
      </a:lt2>
      <a:accent1>
        <a:srgbClr val="767676"/>
      </a:accent1>
      <a:accent2>
        <a:srgbClr val="F8A429"/>
      </a:accent2>
      <a:accent3>
        <a:srgbClr val="155F83"/>
      </a:accent3>
      <a:accent4>
        <a:srgbClr val="CFE6F0"/>
      </a:accent4>
      <a:accent5>
        <a:srgbClr val="BA7B76"/>
      </a:accent5>
      <a:accent6>
        <a:srgbClr val="91AB5A"/>
      </a:accent6>
      <a:hlink>
        <a:srgbClr val="5B96AD"/>
      </a:hlink>
      <a:folHlink>
        <a:srgbClr val="725663"/>
      </a:folHlink>
    </a:clrScheme>
    <a:fontScheme name="UChicago Medicin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ofC3" id="{BCBD097C-E3DE-4987-BA22-20515618B7D1}" vid="{C42BCB6E-A36C-44A3-BF88-AB0BF3BFE0F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897</TotalTime>
  <Words>105</Words>
  <Application>Microsoft Office PowerPoint</Application>
  <PresentationFormat>On-screen Show (4:3)</PresentationFormat>
  <Paragraphs>26</Paragraphs>
  <Slides>2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51" baseType="lpstr">
      <vt:lpstr>ＭＳ Ｐゴシック</vt:lpstr>
      <vt:lpstr>Arial</vt:lpstr>
      <vt:lpstr>Ariel</vt:lpstr>
      <vt:lpstr>Calibri</vt:lpstr>
      <vt:lpstr>Calibri Light</vt:lpstr>
      <vt:lpstr>Century Gothic</vt:lpstr>
      <vt:lpstr>Garamond</vt:lpstr>
      <vt:lpstr>Georgia</vt:lpstr>
      <vt:lpstr>Gill Sans</vt:lpstr>
      <vt:lpstr>Helvetica</vt:lpstr>
      <vt:lpstr>Tahoma</vt:lpstr>
      <vt:lpstr>Times</vt:lpstr>
      <vt:lpstr>Times New Roman</vt:lpstr>
      <vt:lpstr>Wingdings</vt:lpstr>
      <vt:lpstr>Wingdings 2</vt:lpstr>
      <vt:lpstr>ヒラギノ角ゴ Pro W3</vt:lpstr>
      <vt:lpstr>Default Design</vt:lpstr>
      <vt:lpstr>4_Default Design</vt:lpstr>
      <vt:lpstr>VNPTemplate1</vt:lpstr>
      <vt:lpstr>Laparoscopic Cystogastrostomy for Pancreatic Pseudocyst</vt:lpstr>
      <vt:lpstr>15_Default Design</vt:lpstr>
      <vt:lpstr>17_Default Design</vt:lpstr>
      <vt:lpstr>Ppt0000000</vt:lpstr>
      <vt:lpstr>UofC3</vt:lpstr>
      <vt:lpstr>1_UofC3</vt:lpstr>
      <vt:lpstr>9_Default Design</vt:lpstr>
      <vt:lpstr>1_Basic Presentation Template</vt:lpstr>
      <vt:lpstr>think-cell Slide</vt:lpstr>
      <vt:lpstr>Chicago “your kind of town”</vt:lpstr>
      <vt:lpstr>Museum of Science and Industr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rt Institute</vt:lpstr>
      <vt:lpstr>Museum Campus</vt:lpstr>
      <vt:lpstr>Field Museum of Natural history “Sue”</vt:lpstr>
      <vt:lpstr>Grant Park</vt:lpstr>
      <vt:lpstr>Grant Park</vt:lpstr>
      <vt:lpstr>PowerPoint Presentation</vt:lpstr>
      <vt:lpstr>Millennium Park</vt:lpstr>
      <vt:lpstr>North Michigan Ave.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hicago Tribune “Seven Wonders of Chicago”</vt:lpstr>
    </vt:vector>
  </TitlesOfParts>
  <Company>The University of Chicag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 Slide Title</dc:title>
  <dc:creator>scleek</dc:creator>
  <cp:lastModifiedBy>kirant</cp:lastModifiedBy>
  <cp:revision>238</cp:revision>
  <cp:lastPrinted>2002-07-22T22:51:23Z</cp:lastPrinted>
  <dcterms:created xsi:type="dcterms:W3CDTF">2002-07-22T15:08:12Z</dcterms:created>
  <dcterms:modified xsi:type="dcterms:W3CDTF">2020-03-30T17:39:30Z</dcterms:modified>
</cp:coreProperties>
</file>